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1" r:id="rId4"/>
  </p:sldMasterIdLst>
  <p:notesMasterIdLst>
    <p:notesMasterId r:id="rId20"/>
  </p:notesMasterIdLst>
  <p:sldIdLst>
    <p:sldId id="2147471095" r:id="rId5"/>
    <p:sldId id="2147471094" r:id="rId6"/>
    <p:sldId id="2147471100" r:id="rId7"/>
    <p:sldId id="2147471101" r:id="rId8"/>
    <p:sldId id="2147471082" r:id="rId9"/>
    <p:sldId id="2147471107" r:id="rId10"/>
    <p:sldId id="2147470973" r:id="rId11"/>
    <p:sldId id="2147471102" r:id="rId12"/>
    <p:sldId id="2147471106" r:id="rId13"/>
    <p:sldId id="2147471059" r:id="rId14"/>
    <p:sldId id="2147470984" r:id="rId15"/>
    <p:sldId id="2147470881" r:id="rId16"/>
    <p:sldId id="2147471093" r:id="rId17"/>
    <p:sldId id="385" r:id="rId18"/>
    <p:sldId id="418"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6A6E426-4E11-7CF7-D127-63D2EA016B02}" name="Myx Espiritu" initials="ME" userId="S::myx.espiritu@climateimpactx.com::c4765ab3-033e-47df-bf53-a226cc51a5c7" providerId="AD"/>
  <p188:author id="{43DC3332-1107-A3EE-DBAD-C1CAD99A0B75}" name="Genevieve Soh" initials="GS" userId="S::genevieve.soh@climateimpactx.com::bb6dc7b8-5fd2-47b8-a8fb-8c648a081a73" providerId="AD"/>
  <p188:author id="{A5D32B3F-5D0B-DB4E-E894-881A4C3C0938}" name="Daphne Chuah" initials="DC" userId="S::daphne.chuah@climateimpactx.com::750c03d4-b9ac-4705-9aff-70c8b686d073" providerId="AD"/>
  <p188:author id="{08729995-61D5-2675-BEF0-565ED3F4F74D}" name="Ellery Sutanto" initials="ES" userId="S::ellery.sutanto@climateimpactx.com::94db9cbc-074f-4112-84ef-e5abb5c3cf14" providerId="AD"/>
  <p188:author id="{B39E37DA-8F19-CAA8-1274-8920D195C3FD}" name="Oliver Haas" initials="OH" userId="S::oliver.haas@climateimpactx.com::fb519453-b6e1-4b23-8e0d-7f7ce7898c3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3276"/>
    <a:srgbClr val="329A4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C20B89B-EE95-406D-AB61-4E2128A08B0C}" v="6" dt="2022-07-25T07:56:41.511"/>
    <p1510:client id="{980AD1F5-B4C2-40B4-8E7A-4E799A0E89BD}" v="49" dt="2022-07-25T09:07:21.20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221" autoAdjust="0"/>
  </p:normalViewPr>
  <p:slideViewPr>
    <p:cSldViewPr snapToGrid="0">
      <p:cViewPr>
        <p:scale>
          <a:sx n="80" d="100"/>
          <a:sy n="80" d="100"/>
        </p:scale>
        <p:origin x="754"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28"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phne Chuah" userId="750c03d4-b9ac-4705-9aff-70c8b686d073" providerId="ADAL" clId="{980AD1F5-B4C2-40B4-8E7A-4E799A0E89BD}"/>
    <pc:docChg chg="undo redo custSel addSld delSld modSld sldOrd">
      <pc:chgData name="Daphne Chuah" userId="750c03d4-b9ac-4705-9aff-70c8b686d073" providerId="ADAL" clId="{980AD1F5-B4C2-40B4-8E7A-4E799A0E89BD}" dt="2022-07-25T09:07:21.200" v="1077"/>
      <pc:docMkLst>
        <pc:docMk/>
      </pc:docMkLst>
      <pc:sldChg chg="delCm">
        <pc:chgData name="Daphne Chuah" userId="750c03d4-b9ac-4705-9aff-70c8b686d073" providerId="ADAL" clId="{980AD1F5-B4C2-40B4-8E7A-4E799A0E89BD}" dt="2022-07-25T08:51:07.205" v="1030"/>
        <pc:sldMkLst>
          <pc:docMk/>
          <pc:sldMk cId="466228828" sldId="385"/>
        </pc:sldMkLst>
      </pc:sldChg>
      <pc:sldChg chg="del">
        <pc:chgData name="Daphne Chuah" userId="750c03d4-b9ac-4705-9aff-70c8b686d073" providerId="ADAL" clId="{980AD1F5-B4C2-40B4-8E7A-4E799A0E89BD}" dt="2022-07-24T23:45:31.292" v="354" actId="2696"/>
        <pc:sldMkLst>
          <pc:docMk/>
          <pc:sldMk cId="479160548" sldId="2147470881"/>
        </pc:sldMkLst>
      </pc:sldChg>
      <pc:sldChg chg="add ord">
        <pc:chgData name="Daphne Chuah" userId="750c03d4-b9ac-4705-9aff-70c8b686d073" providerId="ADAL" clId="{980AD1F5-B4C2-40B4-8E7A-4E799A0E89BD}" dt="2022-07-25T05:59:05.116" v="370"/>
        <pc:sldMkLst>
          <pc:docMk/>
          <pc:sldMk cId="3545718123" sldId="2147470881"/>
        </pc:sldMkLst>
      </pc:sldChg>
      <pc:sldChg chg="add ord">
        <pc:chgData name="Daphne Chuah" userId="750c03d4-b9ac-4705-9aff-70c8b686d073" providerId="ADAL" clId="{980AD1F5-B4C2-40B4-8E7A-4E799A0E89BD}" dt="2022-07-25T05:42:45.867" v="361"/>
        <pc:sldMkLst>
          <pc:docMk/>
          <pc:sldMk cId="716841756" sldId="2147470973"/>
        </pc:sldMkLst>
      </pc:sldChg>
      <pc:sldChg chg="del">
        <pc:chgData name="Daphne Chuah" userId="750c03d4-b9ac-4705-9aff-70c8b686d073" providerId="ADAL" clId="{980AD1F5-B4C2-40B4-8E7A-4E799A0E89BD}" dt="2022-07-24T23:45:31.292" v="354" actId="2696"/>
        <pc:sldMkLst>
          <pc:docMk/>
          <pc:sldMk cId="2264087865" sldId="2147470973"/>
        </pc:sldMkLst>
      </pc:sldChg>
      <pc:sldChg chg="addSp delSp add del mod">
        <pc:chgData name="Daphne Chuah" userId="750c03d4-b9ac-4705-9aff-70c8b686d073" providerId="ADAL" clId="{980AD1F5-B4C2-40B4-8E7A-4E799A0E89BD}" dt="2022-07-24T23:42:05.995" v="212" actId="47"/>
        <pc:sldMkLst>
          <pc:docMk/>
          <pc:sldMk cId="1120955419" sldId="2147470977"/>
        </pc:sldMkLst>
        <pc:spChg chg="add del">
          <ac:chgData name="Daphne Chuah" userId="750c03d4-b9ac-4705-9aff-70c8b686d073" providerId="ADAL" clId="{980AD1F5-B4C2-40B4-8E7A-4E799A0E89BD}" dt="2022-07-24T23:42:02.010" v="210" actId="21"/>
          <ac:spMkLst>
            <pc:docMk/>
            <pc:sldMk cId="1120955419" sldId="2147470977"/>
            <ac:spMk id="7" creationId="{BEFB2AB9-AE0D-4243-8546-35685B2ECA24}"/>
          </ac:spMkLst>
        </pc:spChg>
        <pc:graphicFrameChg chg="add del">
          <ac:chgData name="Daphne Chuah" userId="750c03d4-b9ac-4705-9aff-70c8b686d073" providerId="ADAL" clId="{980AD1F5-B4C2-40B4-8E7A-4E799A0E89BD}" dt="2022-07-24T23:42:02.010" v="210" actId="21"/>
          <ac:graphicFrameMkLst>
            <pc:docMk/>
            <pc:sldMk cId="1120955419" sldId="2147470977"/>
            <ac:graphicFrameMk id="8" creationId="{C8A06C7C-1CAA-481C-ABAE-A46242507044}"/>
          </ac:graphicFrameMkLst>
        </pc:graphicFrameChg>
        <pc:picChg chg="add del">
          <ac:chgData name="Daphne Chuah" userId="750c03d4-b9ac-4705-9aff-70c8b686d073" providerId="ADAL" clId="{980AD1F5-B4C2-40B4-8E7A-4E799A0E89BD}" dt="2022-07-24T23:42:02.010" v="210" actId="21"/>
          <ac:picMkLst>
            <pc:docMk/>
            <pc:sldMk cId="1120955419" sldId="2147470977"/>
            <ac:picMk id="11" creationId="{B91DFF0B-041D-4891-B224-DB1C7CFC05E0}"/>
          </ac:picMkLst>
        </pc:picChg>
        <pc:picChg chg="add del">
          <ac:chgData name="Daphne Chuah" userId="750c03d4-b9ac-4705-9aff-70c8b686d073" providerId="ADAL" clId="{980AD1F5-B4C2-40B4-8E7A-4E799A0E89BD}" dt="2022-07-24T23:42:02.010" v="210" actId="21"/>
          <ac:picMkLst>
            <pc:docMk/>
            <pc:sldMk cId="1120955419" sldId="2147470977"/>
            <ac:picMk id="13" creationId="{9D47CC18-2E1E-4E36-A3AD-22EBFCECC7F5}"/>
          </ac:picMkLst>
        </pc:picChg>
        <pc:picChg chg="add del">
          <ac:chgData name="Daphne Chuah" userId="750c03d4-b9ac-4705-9aff-70c8b686d073" providerId="ADAL" clId="{980AD1F5-B4C2-40B4-8E7A-4E799A0E89BD}" dt="2022-07-24T23:42:02.010" v="210" actId="21"/>
          <ac:picMkLst>
            <pc:docMk/>
            <pc:sldMk cId="1120955419" sldId="2147470977"/>
            <ac:picMk id="15" creationId="{5A8B5233-227C-4EC5-8F8A-762B4F28FD1E}"/>
          </ac:picMkLst>
        </pc:picChg>
        <pc:picChg chg="add del">
          <ac:chgData name="Daphne Chuah" userId="750c03d4-b9ac-4705-9aff-70c8b686d073" providerId="ADAL" clId="{980AD1F5-B4C2-40B4-8E7A-4E799A0E89BD}" dt="2022-07-24T23:42:02.010" v="210" actId="21"/>
          <ac:picMkLst>
            <pc:docMk/>
            <pc:sldMk cId="1120955419" sldId="2147470977"/>
            <ac:picMk id="17" creationId="{FD16B6EF-B0CC-4585-AFEE-FA9E9A630720}"/>
          </ac:picMkLst>
        </pc:picChg>
        <pc:picChg chg="add del">
          <ac:chgData name="Daphne Chuah" userId="750c03d4-b9ac-4705-9aff-70c8b686d073" providerId="ADAL" clId="{980AD1F5-B4C2-40B4-8E7A-4E799A0E89BD}" dt="2022-07-24T23:42:02.010" v="210" actId="21"/>
          <ac:picMkLst>
            <pc:docMk/>
            <pc:sldMk cId="1120955419" sldId="2147470977"/>
            <ac:picMk id="19" creationId="{F1D4CDA5-5596-4149-BC8A-5FAE7197532E}"/>
          </ac:picMkLst>
        </pc:picChg>
      </pc:sldChg>
      <pc:sldChg chg="del">
        <pc:chgData name="Daphne Chuah" userId="750c03d4-b9ac-4705-9aff-70c8b686d073" providerId="ADAL" clId="{980AD1F5-B4C2-40B4-8E7A-4E799A0E89BD}" dt="2022-07-24T23:45:31.292" v="354" actId="2696"/>
        <pc:sldMkLst>
          <pc:docMk/>
          <pc:sldMk cId="2189430253" sldId="2147470984"/>
        </pc:sldMkLst>
      </pc:sldChg>
      <pc:sldChg chg="addSp modSp add mod ord delCm">
        <pc:chgData name="Daphne Chuah" userId="750c03d4-b9ac-4705-9aff-70c8b686d073" providerId="ADAL" clId="{980AD1F5-B4C2-40B4-8E7A-4E799A0E89BD}" dt="2022-07-25T09:06:39.632" v="1066" actId="1036"/>
        <pc:sldMkLst>
          <pc:docMk/>
          <pc:sldMk cId="3955137257" sldId="2147470984"/>
        </pc:sldMkLst>
        <pc:spChg chg="mod">
          <ac:chgData name="Daphne Chuah" userId="750c03d4-b9ac-4705-9aff-70c8b686d073" providerId="ADAL" clId="{980AD1F5-B4C2-40B4-8E7A-4E799A0E89BD}" dt="2022-07-25T08:48:54.862" v="948" actId="1035"/>
          <ac:spMkLst>
            <pc:docMk/>
            <pc:sldMk cId="3955137257" sldId="2147470984"/>
            <ac:spMk id="3" creationId="{E6EFAE04-17CA-BFF2-09C3-D374C3ED1876}"/>
          </ac:spMkLst>
        </pc:spChg>
        <pc:spChg chg="add mod">
          <ac:chgData name="Daphne Chuah" userId="750c03d4-b9ac-4705-9aff-70c8b686d073" providerId="ADAL" clId="{980AD1F5-B4C2-40B4-8E7A-4E799A0E89BD}" dt="2022-07-25T09:06:39.632" v="1066" actId="1036"/>
          <ac:spMkLst>
            <pc:docMk/>
            <pc:sldMk cId="3955137257" sldId="2147470984"/>
            <ac:spMk id="7" creationId="{AA5A4396-E7BB-40F8-0DC4-8AA4F55CC33F}"/>
          </ac:spMkLst>
        </pc:spChg>
        <pc:spChg chg="mod">
          <ac:chgData name="Daphne Chuah" userId="750c03d4-b9ac-4705-9aff-70c8b686d073" providerId="ADAL" clId="{980AD1F5-B4C2-40B4-8E7A-4E799A0E89BD}" dt="2022-07-25T08:48:54.862" v="948" actId="1035"/>
          <ac:spMkLst>
            <pc:docMk/>
            <pc:sldMk cId="3955137257" sldId="2147470984"/>
            <ac:spMk id="14" creationId="{360D6E6E-CDF3-3FDA-C22E-EAC406616071}"/>
          </ac:spMkLst>
        </pc:spChg>
        <pc:spChg chg="mod">
          <ac:chgData name="Daphne Chuah" userId="750c03d4-b9ac-4705-9aff-70c8b686d073" providerId="ADAL" clId="{980AD1F5-B4C2-40B4-8E7A-4E799A0E89BD}" dt="2022-07-25T08:48:54.862" v="948" actId="1035"/>
          <ac:spMkLst>
            <pc:docMk/>
            <pc:sldMk cId="3955137257" sldId="2147470984"/>
            <ac:spMk id="15" creationId="{820C69B4-58BF-6A0D-220F-93C4D884F9C7}"/>
          </ac:spMkLst>
        </pc:spChg>
        <pc:spChg chg="mod">
          <ac:chgData name="Daphne Chuah" userId="750c03d4-b9ac-4705-9aff-70c8b686d073" providerId="ADAL" clId="{980AD1F5-B4C2-40B4-8E7A-4E799A0E89BD}" dt="2022-07-25T08:48:54.862" v="948" actId="1035"/>
          <ac:spMkLst>
            <pc:docMk/>
            <pc:sldMk cId="3955137257" sldId="2147470984"/>
            <ac:spMk id="173" creationId="{D93FCAB7-2BFC-445D-8BAD-2AEE7ABC10E7}"/>
          </ac:spMkLst>
        </pc:spChg>
        <pc:spChg chg="mod">
          <ac:chgData name="Daphne Chuah" userId="750c03d4-b9ac-4705-9aff-70c8b686d073" providerId="ADAL" clId="{980AD1F5-B4C2-40B4-8E7A-4E799A0E89BD}" dt="2022-07-25T08:48:54.862" v="948" actId="1035"/>
          <ac:spMkLst>
            <pc:docMk/>
            <pc:sldMk cId="3955137257" sldId="2147470984"/>
            <ac:spMk id="174" creationId="{6F5FC3D0-F2EB-4405-9C77-E9C16A3FFC31}"/>
          </ac:spMkLst>
        </pc:spChg>
        <pc:spChg chg="mod">
          <ac:chgData name="Daphne Chuah" userId="750c03d4-b9ac-4705-9aff-70c8b686d073" providerId="ADAL" clId="{980AD1F5-B4C2-40B4-8E7A-4E799A0E89BD}" dt="2022-07-25T08:48:54.862" v="948" actId="1035"/>
          <ac:spMkLst>
            <pc:docMk/>
            <pc:sldMk cId="3955137257" sldId="2147470984"/>
            <ac:spMk id="175" creationId="{5960C284-41CA-4362-9E49-46254F4809A3}"/>
          </ac:spMkLst>
        </pc:spChg>
        <pc:picChg chg="add mod">
          <ac:chgData name="Daphne Chuah" userId="750c03d4-b9ac-4705-9aff-70c8b686d073" providerId="ADAL" clId="{980AD1F5-B4C2-40B4-8E7A-4E799A0E89BD}" dt="2022-07-25T08:50:56.284" v="1024" actId="14100"/>
          <ac:picMkLst>
            <pc:docMk/>
            <pc:sldMk cId="3955137257" sldId="2147470984"/>
            <ac:picMk id="6" creationId="{AF5EBB46-2EA3-80AC-A765-90AA5FB51AFE}"/>
          </ac:picMkLst>
        </pc:picChg>
        <pc:picChg chg="mod">
          <ac:chgData name="Daphne Chuah" userId="750c03d4-b9ac-4705-9aff-70c8b686d073" providerId="ADAL" clId="{980AD1F5-B4C2-40B4-8E7A-4E799A0E89BD}" dt="2022-07-25T08:48:54.862" v="948" actId="1035"/>
          <ac:picMkLst>
            <pc:docMk/>
            <pc:sldMk cId="3955137257" sldId="2147470984"/>
            <ac:picMk id="169" creationId="{72E05DB2-607D-442E-AC3C-124356BD9FF3}"/>
          </ac:picMkLst>
        </pc:picChg>
        <pc:picChg chg="mod">
          <ac:chgData name="Daphne Chuah" userId="750c03d4-b9ac-4705-9aff-70c8b686d073" providerId="ADAL" clId="{980AD1F5-B4C2-40B4-8E7A-4E799A0E89BD}" dt="2022-07-25T08:48:54.862" v="948" actId="1035"/>
          <ac:picMkLst>
            <pc:docMk/>
            <pc:sldMk cId="3955137257" sldId="2147470984"/>
            <ac:picMk id="170" creationId="{B1054909-7F20-4546-8DB4-CE9B844950EB}"/>
          </ac:picMkLst>
        </pc:picChg>
        <pc:picChg chg="mod">
          <ac:chgData name="Daphne Chuah" userId="750c03d4-b9ac-4705-9aff-70c8b686d073" providerId="ADAL" clId="{980AD1F5-B4C2-40B4-8E7A-4E799A0E89BD}" dt="2022-07-25T08:48:54.862" v="948" actId="1035"/>
          <ac:picMkLst>
            <pc:docMk/>
            <pc:sldMk cId="3955137257" sldId="2147470984"/>
            <ac:picMk id="171" creationId="{3FFDBC95-7072-400A-8E49-F7D36A9F0C42}"/>
          </ac:picMkLst>
        </pc:picChg>
        <pc:cxnChg chg="mod">
          <ac:chgData name="Daphne Chuah" userId="750c03d4-b9ac-4705-9aff-70c8b686d073" providerId="ADAL" clId="{980AD1F5-B4C2-40B4-8E7A-4E799A0E89BD}" dt="2022-07-25T08:48:54.862" v="948" actId="1035"/>
          <ac:cxnSpMkLst>
            <pc:docMk/>
            <pc:sldMk cId="3955137257" sldId="2147470984"/>
            <ac:cxnSpMk id="172" creationId="{EA085B8E-3B58-4E13-8FDB-B560BFA3FC27}"/>
          </ac:cxnSpMkLst>
        </pc:cxnChg>
        <pc:cxnChg chg="mod">
          <ac:chgData name="Daphne Chuah" userId="750c03d4-b9ac-4705-9aff-70c8b686d073" providerId="ADAL" clId="{980AD1F5-B4C2-40B4-8E7A-4E799A0E89BD}" dt="2022-07-25T08:48:54.862" v="948" actId="1035"/>
          <ac:cxnSpMkLst>
            <pc:docMk/>
            <pc:sldMk cId="3955137257" sldId="2147470984"/>
            <ac:cxnSpMk id="176" creationId="{09B50B42-5B04-478B-9117-B32BE2C867F1}"/>
          </ac:cxnSpMkLst>
        </pc:cxnChg>
      </pc:sldChg>
      <pc:sldChg chg="modSp add ord">
        <pc:chgData name="Daphne Chuah" userId="750c03d4-b9ac-4705-9aff-70c8b686d073" providerId="ADAL" clId="{980AD1F5-B4C2-40B4-8E7A-4E799A0E89BD}" dt="2022-07-25T09:07:21.200" v="1077"/>
        <pc:sldMkLst>
          <pc:docMk/>
          <pc:sldMk cId="381563622" sldId="2147471059"/>
        </pc:sldMkLst>
        <pc:spChg chg="mod">
          <ac:chgData name="Daphne Chuah" userId="750c03d4-b9ac-4705-9aff-70c8b686d073" providerId="ADAL" clId="{980AD1F5-B4C2-40B4-8E7A-4E799A0E89BD}" dt="2022-07-25T09:07:21.200" v="1077"/>
          <ac:spMkLst>
            <pc:docMk/>
            <pc:sldMk cId="381563622" sldId="2147471059"/>
            <ac:spMk id="2" creationId="{09D9BC68-A4AE-2BB2-7AC0-64D726C447A3}"/>
          </ac:spMkLst>
        </pc:spChg>
      </pc:sldChg>
      <pc:sldChg chg="addSp delSp add del mod">
        <pc:chgData name="Daphne Chuah" userId="750c03d4-b9ac-4705-9aff-70c8b686d073" providerId="ADAL" clId="{980AD1F5-B4C2-40B4-8E7A-4E799A0E89BD}" dt="2022-07-24T23:41:15.395" v="184" actId="47"/>
        <pc:sldMkLst>
          <pc:docMk/>
          <pc:sldMk cId="2782944214" sldId="2147471061"/>
        </pc:sldMkLst>
        <pc:spChg chg="add del">
          <ac:chgData name="Daphne Chuah" userId="750c03d4-b9ac-4705-9aff-70c8b686d073" providerId="ADAL" clId="{980AD1F5-B4C2-40B4-8E7A-4E799A0E89BD}" dt="2022-07-24T23:41:10.345" v="182" actId="21"/>
          <ac:spMkLst>
            <pc:docMk/>
            <pc:sldMk cId="2782944214" sldId="2147471061"/>
            <ac:spMk id="21" creationId="{F00B82A7-24C9-FB9C-DF1A-2F34C574F78D}"/>
          </ac:spMkLst>
        </pc:spChg>
        <pc:spChg chg="add del">
          <ac:chgData name="Daphne Chuah" userId="750c03d4-b9ac-4705-9aff-70c8b686d073" providerId="ADAL" clId="{980AD1F5-B4C2-40B4-8E7A-4E799A0E89BD}" dt="2022-07-24T23:41:10.345" v="182" actId="21"/>
          <ac:spMkLst>
            <pc:docMk/>
            <pc:sldMk cId="2782944214" sldId="2147471061"/>
            <ac:spMk id="23" creationId="{6996D459-470D-27FF-4F84-38EBB471C2D3}"/>
          </ac:spMkLst>
        </pc:spChg>
        <pc:spChg chg="add del">
          <ac:chgData name="Daphne Chuah" userId="750c03d4-b9ac-4705-9aff-70c8b686d073" providerId="ADAL" clId="{980AD1F5-B4C2-40B4-8E7A-4E799A0E89BD}" dt="2022-07-24T23:41:10.345" v="182" actId="21"/>
          <ac:spMkLst>
            <pc:docMk/>
            <pc:sldMk cId="2782944214" sldId="2147471061"/>
            <ac:spMk id="24" creationId="{F3837B38-FF3B-33D3-97DB-0A58515E8551}"/>
          </ac:spMkLst>
        </pc:spChg>
        <pc:spChg chg="add del">
          <ac:chgData name="Daphne Chuah" userId="750c03d4-b9ac-4705-9aff-70c8b686d073" providerId="ADAL" clId="{980AD1F5-B4C2-40B4-8E7A-4E799A0E89BD}" dt="2022-07-24T23:41:10.345" v="182" actId="21"/>
          <ac:spMkLst>
            <pc:docMk/>
            <pc:sldMk cId="2782944214" sldId="2147471061"/>
            <ac:spMk id="25" creationId="{B3023CE3-6E0C-FBAF-3BB2-0DA0F1919626}"/>
          </ac:spMkLst>
        </pc:spChg>
        <pc:spChg chg="add del">
          <ac:chgData name="Daphne Chuah" userId="750c03d4-b9ac-4705-9aff-70c8b686d073" providerId="ADAL" clId="{980AD1F5-B4C2-40B4-8E7A-4E799A0E89BD}" dt="2022-07-24T23:41:10.345" v="182" actId="21"/>
          <ac:spMkLst>
            <pc:docMk/>
            <pc:sldMk cId="2782944214" sldId="2147471061"/>
            <ac:spMk id="32" creationId="{0FC96628-EF35-251C-3A69-4F0D13B67CA7}"/>
          </ac:spMkLst>
        </pc:spChg>
        <pc:spChg chg="add del">
          <ac:chgData name="Daphne Chuah" userId="750c03d4-b9ac-4705-9aff-70c8b686d073" providerId="ADAL" clId="{980AD1F5-B4C2-40B4-8E7A-4E799A0E89BD}" dt="2022-07-24T23:41:10.345" v="182" actId="21"/>
          <ac:spMkLst>
            <pc:docMk/>
            <pc:sldMk cId="2782944214" sldId="2147471061"/>
            <ac:spMk id="33" creationId="{68EEB3C7-3989-2843-AFB7-847B4A50BDF1}"/>
          </ac:spMkLst>
        </pc:spChg>
        <pc:spChg chg="add del">
          <ac:chgData name="Daphne Chuah" userId="750c03d4-b9ac-4705-9aff-70c8b686d073" providerId="ADAL" clId="{980AD1F5-B4C2-40B4-8E7A-4E799A0E89BD}" dt="2022-07-24T23:41:10.345" v="182" actId="21"/>
          <ac:spMkLst>
            <pc:docMk/>
            <pc:sldMk cId="2782944214" sldId="2147471061"/>
            <ac:spMk id="34" creationId="{4E2E46FF-D0E9-6BA4-8C4B-47A4B7B9BB29}"/>
          </ac:spMkLst>
        </pc:spChg>
        <pc:spChg chg="add del">
          <ac:chgData name="Daphne Chuah" userId="750c03d4-b9ac-4705-9aff-70c8b686d073" providerId="ADAL" clId="{980AD1F5-B4C2-40B4-8E7A-4E799A0E89BD}" dt="2022-07-24T23:41:10.345" v="182" actId="21"/>
          <ac:spMkLst>
            <pc:docMk/>
            <pc:sldMk cId="2782944214" sldId="2147471061"/>
            <ac:spMk id="35" creationId="{27B8DDD5-D8E0-019A-40AA-73E6D51CD39C}"/>
          </ac:spMkLst>
        </pc:spChg>
        <pc:spChg chg="add del">
          <ac:chgData name="Daphne Chuah" userId="750c03d4-b9ac-4705-9aff-70c8b686d073" providerId="ADAL" clId="{980AD1F5-B4C2-40B4-8E7A-4E799A0E89BD}" dt="2022-07-24T23:41:10.345" v="182" actId="21"/>
          <ac:spMkLst>
            <pc:docMk/>
            <pc:sldMk cId="2782944214" sldId="2147471061"/>
            <ac:spMk id="36" creationId="{AC41B4D1-9B26-572C-E9FA-C6087C981FF8}"/>
          </ac:spMkLst>
        </pc:spChg>
        <pc:grpChg chg="add del">
          <ac:chgData name="Daphne Chuah" userId="750c03d4-b9ac-4705-9aff-70c8b686d073" providerId="ADAL" clId="{980AD1F5-B4C2-40B4-8E7A-4E799A0E89BD}" dt="2022-07-24T23:41:10.345" v="182" actId="21"/>
          <ac:grpSpMkLst>
            <pc:docMk/>
            <pc:sldMk cId="2782944214" sldId="2147471061"/>
            <ac:grpSpMk id="30" creationId="{CF139E40-D5DF-03E9-B78C-C407B554F6C4}"/>
          </ac:grpSpMkLst>
        </pc:grpChg>
        <pc:picChg chg="add del">
          <ac:chgData name="Daphne Chuah" userId="750c03d4-b9ac-4705-9aff-70c8b686d073" providerId="ADAL" clId="{980AD1F5-B4C2-40B4-8E7A-4E799A0E89BD}" dt="2022-07-24T23:41:10.345" v="182" actId="21"/>
          <ac:picMkLst>
            <pc:docMk/>
            <pc:sldMk cId="2782944214" sldId="2147471061"/>
            <ac:picMk id="7" creationId="{8540C312-E46D-406B-EAE7-2E0D6FDEB65A}"/>
          </ac:picMkLst>
        </pc:picChg>
        <pc:picChg chg="add del">
          <ac:chgData name="Daphne Chuah" userId="750c03d4-b9ac-4705-9aff-70c8b686d073" providerId="ADAL" clId="{980AD1F5-B4C2-40B4-8E7A-4E799A0E89BD}" dt="2022-07-24T23:41:10.345" v="182" actId="21"/>
          <ac:picMkLst>
            <pc:docMk/>
            <pc:sldMk cId="2782944214" sldId="2147471061"/>
            <ac:picMk id="8" creationId="{2408EA81-8C09-6687-1F15-7406799C4506}"/>
          </ac:picMkLst>
        </pc:picChg>
        <pc:picChg chg="add del">
          <ac:chgData name="Daphne Chuah" userId="750c03d4-b9ac-4705-9aff-70c8b686d073" providerId="ADAL" clId="{980AD1F5-B4C2-40B4-8E7A-4E799A0E89BD}" dt="2022-07-24T23:41:10.345" v="182" actId="21"/>
          <ac:picMkLst>
            <pc:docMk/>
            <pc:sldMk cId="2782944214" sldId="2147471061"/>
            <ac:picMk id="9" creationId="{01B1EC44-E0B9-B811-5F78-635F055CC964}"/>
          </ac:picMkLst>
        </pc:picChg>
        <pc:picChg chg="add del">
          <ac:chgData name="Daphne Chuah" userId="750c03d4-b9ac-4705-9aff-70c8b686d073" providerId="ADAL" clId="{980AD1F5-B4C2-40B4-8E7A-4E799A0E89BD}" dt="2022-07-24T23:41:10.345" v="182" actId="21"/>
          <ac:picMkLst>
            <pc:docMk/>
            <pc:sldMk cId="2782944214" sldId="2147471061"/>
            <ac:picMk id="10" creationId="{0D5D252A-4F30-4A12-781D-F31704A01D9A}"/>
          </ac:picMkLst>
        </pc:picChg>
        <pc:picChg chg="add del">
          <ac:chgData name="Daphne Chuah" userId="750c03d4-b9ac-4705-9aff-70c8b686d073" providerId="ADAL" clId="{980AD1F5-B4C2-40B4-8E7A-4E799A0E89BD}" dt="2022-07-24T23:41:10.345" v="182" actId="21"/>
          <ac:picMkLst>
            <pc:docMk/>
            <pc:sldMk cId="2782944214" sldId="2147471061"/>
            <ac:picMk id="12" creationId="{904EF193-9CE3-48A9-0BE7-239EE05C2348}"/>
          </ac:picMkLst>
        </pc:picChg>
        <pc:picChg chg="add del">
          <ac:chgData name="Daphne Chuah" userId="750c03d4-b9ac-4705-9aff-70c8b686d073" providerId="ADAL" clId="{980AD1F5-B4C2-40B4-8E7A-4E799A0E89BD}" dt="2022-07-24T23:41:10.345" v="182" actId="21"/>
          <ac:picMkLst>
            <pc:docMk/>
            <pc:sldMk cId="2782944214" sldId="2147471061"/>
            <ac:picMk id="13" creationId="{ABECAB72-B361-2336-5006-03A294D3979E}"/>
          </ac:picMkLst>
        </pc:picChg>
      </pc:sldChg>
      <pc:sldChg chg="del">
        <pc:chgData name="Daphne Chuah" userId="750c03d4-b9ac-4705-9aff-70c8b686d073" providerId="ADAL" clId="{980AD1F5-B4C2-40B4-8E7A-4E799A0E89BD}" dt="2022-07-24T23:45:31.292" v="354" actId="2696"/>
        <pc:sldMkLst>
          <pc:docMk/>
          <pc:sldMk cId="603705030" sldId="2147471062"/>
        </pc:sldMkLst>
      </pc:sldChg>
      <pc:sldChg chg="addSp delSp modSp add del mod ord">
        <pc:chgData name="Daphne Chuah" userId="750c03d4-b9ac-4705-9aff-70c8b686d073" providerId="ADAL" clId="{980AD1F5-B4C2-40B4-8E7A-4E799A0E89BD}" dt="2022-07-25T08:37:52.838" v="907" actId="47"/>
        <pc:sldMkLst>
          <pc:docMk/>
          <pc:sldMk cId="1899527464" sldId="2147471062"/>
        </pc:sldMkLst>
        <pc:spChg chg="add del">
          <ac:chgData name="Daphne Chuah" userId="750c03d4-b9ac-4705-9aff-70c8b686d073" providerId="ADAL" clId="{980AD1F5-B4C2-40B4-8E7A-4E799A0E89BD}" dt="2022-07-25T08:18:11.124" v="480" actId="21"/>
          <ac:spMkLst>
            <pc:docMk/>
            <pc:sldMk cId="1899527464" sldId="2147471062"/>
            <ac:spMk id="16" creationId="{ECB50BE8-A04B-417D-9B77-87C67CFC3F83}"/>
          </ac:spMkLst>
        </pc:spChg>
        <pc:spChg chg="add del">
          <ac:chgData name="Daphne Chuah" userId="750c03d4-b9ac-4705-9aff-70c8b686d073" providerId="ADAL" clId="{980AD1F5-B4C2-40B4-8E7A-4E799A0E89BD}" dt="2022-07-25T08:18:11.124" v="480" actId="21"/>
          <ac:spMkLst>
            <pc:docMk/>
            <pc:sldMk cId="1899527464" sldId="2147471062"/>
            <ac:spMk id="17" creationId="{561680C6-EBC8-48BC-8A61-54472FE1E6E9}"/>
          </ac:spMkLst>
        </pc:spChg>
        <pc:spChg chg="add del">
          <ac:chgData name="Daphne Chuah" userId="750c03d4-b9ac-4705-9aff-70c8b686d073" providerId="ADAL" clId="{980AD1F5-B4C2-40B4-8E7A-4E799A0E89BD}" dt="2022-07-25T08:18:11.124" v="480" actId="21"/>
          <ac:spMkLst>
            <pc:docMk/>
            <pc:sldMk cId="1899527464" sldId="2147471062"/>
            <ac:spMk id="25" creationId="{62C68755-243C-496E-B3C4-41E34F8CA380}"/>
          </ac:spMkLst>
        </pc:spChg>
        <pc:spChg chg="add del">
          <ac:chgData name="Daphne Chuah" userId="750c03d4-b9ac-4705-9aff-70c8b686d073" providerId="ADAL" clId="{980AD1F5-B4C2-40B4-8E7A-4E799A0E89BD}" dt="2022-07-25T08:18:11.124" v="480" actId="21"/>
          <ac:spMkLst>
            <pc:docMk/>
            <pc:sldMk cId="1899527464" sldId="2147471062"/>
            <ac:spMk id="26" creationId="{98050498-6303-4B27-9435-CC6A378C4126}"/>
          </ac:spMkLst>
        </pc:spChg>
        <pc:spChg chg="add del">
          <ac:chgData name="Daphne Chuah" userId="750c03d4-b9ac-4705-9aff-70c8b686d073" providerId="ADAL" clId="{980AD1F5-B4C2-40B4-8E7A-4E799A0E89BD}" dt="2022-07-25T08:18:11.124" v="480" actId="21"/>
          <ac:spMkLst>
            <pc:docMk/>
            <pc:sldMk cId="1899527464" sldId="2147471062"/>
            <ac:spMk id="27" creationId="{0A1CF55E-ED37-49BA-B33A-7116DDA15149}"/>
          </ac:spMkLst>
        </pc:spChg>
        <pc:spChg chg="add del">
          <ac:chgData name="Daphne Chuah" userId="750c03d4-b9ac-4705-9aff-70c8b686d073" providerId="ADAL" clId="{980AD1F5-B4C2-40B4-8E7A-4E799A0E89BD}" dt="2022-07-25T08:18:11.124" v="480" actId="21"/>
          <ac:spMkLst>
            <pc:docMk/>
            <pc:sldMk cId="1899527464" sldId="2147471062"/>
            <ac:spMk id="29" creationId="{42A3045A-C34F-4B54-932A-ECFA9669899E}"/>
          </ac:spMkLst>
        </pc:spChg>
        <pc:spChg chg="add del">
          <ac:chgData name="Daphne Chuah" userId="750c03d4-b9ac-4705-9aff-70c8b686d073" providerId="ADAL" clId="{980AD1F5-B4C2-40B4-8E7A-4E799A0E89BD}" dt="2022-07-25T08:18:11.124" v="480" actId="21"/>
          <ac:spMkLst>
            <pc:docMk/>
            <pc:sldMk cId="1899527464" sldId="2147471062"/>
            <ac:spMk id="31" creationId="{3D56E5B0-9236-4C7E-8B48-BA42C3506C63}"/>
          </ac:spMkLst>
        </pc:spChg>
        <pc:spChg chg="add del">
          <ac:chgData name="Daphne Chuah" userId="750c03d4-b9ac-4705-9aff-70c8b686d073" providerId="ADAL" clId="{980AD1F5-B4C2-40B4-8E7A-4E799A0E89BD}" dt="2022-07-25T08:18:11.124" v="480" actId="21"/>
          <ac:spMkLst>
            <pc:docMk/>
            <pc:sldMk cId="1899527464" sldId="2147471062"/>
            <ac:spMk id="32" creationId="{34DB7D20-7485-4DA4-8FE1-4079724A706A}"/>
          </ac:spMkLst>
        </pc:spChg>
        <pc:spChg chg="add del">
          <ac:chgData name="Daphne Chuah" userId="750c03d4-b9ac-4705-9aff-70c8b686d073" providerId="ADAL" clId="{980AD1F5-B4C2-40B4-8E7A-4E799A0E89BD}" dt="2022-07-25T08:18:11.124" v="480" actId="21"/>
          <ac:spMkLst>
            <pc:docMk/>
            <pc:sldMk cId="1899527464" sldId="2147471062"/>
            <ac:spMk id="33" creationId="{F39B6605-DE0B-4AC8-999A-E02638D019BF}"/>
          </ac:spMkLst>
        </pc:spChg>
        <pc:grpChg chg="add del">
          <ac:chgData name="Daphne Chuah" userId="750c03d4-b9ac-4705-9aff-70c8b686d073" providerId="ADAL" clId="{980AD1F5-B4C2-40B4-8E7A-4E799A0E89BD}" dt="2022-07-25T08:18:11.124" v="480" actId="21"/>
          <ac:grpSpMkLst>
            <pc:docMk/>
            <pc:sldMk cId="1899527464" sldId="2147471062"/>
            <ac:grpSpMk id="18" creationId="{50DEE370-AC3A-4229-A3F6-23FA95B1DBD0}"/>
          </ac:grpSpMkLst>
        </pc:grpChg>
        <pc:grpChg chg="add del">
          <ac:chgData name="Daphne Chuah" userId="750c03d4-b9ac-4705-9aff-70c8b686d073" providerId="ADAL" clId="{980AD1F5-B4C2-40B4-8E7A-4E799A0E89BD}" dt="2022-07-25T08:18:11.124" v="480" actId="21"/>
          <ac:grpSpMkLst>
            <pc:docMk/>
            <pc:sldMk cId="1899527464" sldId="2147471062"/>
            <ac:grpSpMk id="34" creationId="{60EACC46-A3C1-43E5-85ED-3FF06FF7359A}"/>
          </ac:grpSpMkLst>
        </pc:grpChg>
        <pc:cxnChg chg="add del">
          <ac:chgData name="Daphne Chuah" userId="750c03d4-b9ac-4705-9aff-70c8b686d073" providerId="ADAL" clId="{980AD1F5-B4C2-40B4-8E7A-4E799A0E89BD}" dt="2022-07-25T08:18:11.124" v="480" actId="21"/>
          <ac:cxnSpMkLst>
            <pc:docMk/>
            <pc:sldMk cId="1899527464" sldId="2147471062"/>
            <ac:cxnSpMk id="22" creationId="{4B980E6E-BC10-4134-85C9-865E5E9EC5EA}"/>
          </ac:cxnSpMkLst>
        </pc:cxnChg>
        <pc:cxnChg chg="add del">
          <ac:chgData name="Daphne Chuah" userId="750c03d4-b9ac-4705-9aff-70c8b686d073" providerId="ADAL" clId="{980AD1F5-B4C2-40B4-8E7A-4E799A0E89BD}" dt="2022-07-25T08:18:11.124" v="480" actId="21"/>
          <ac:cxnSpMkLst>
            <pc:docMk/>
            <pc:sldMk cId="1899527464" sldId="2147471062"/>
            <ac:cxnSpMk id="23" creationId="{65B5E19D-CB4F-4D62-8E18-1042E8B0E5A1}"/>
          </ac:cxnSpMkLst>
        </pc:cxnChg>
        <pc:cxnChg chg="add del">
          <ac:chgData name="Daphne Chuah" userId="750c03d4-b9ac-4705-9aff-70c8b686d073" providerId="ADAL" clId="{980AD1F5-B4C2-40B4-8E7A-4E799A0E89BD}" dt="2022-07-25T08:18:11.124" v="480" actId="21"/>
          <ac:cxnSpMkLst>
            <pc:docMk/>
            <pc:sldMk cId="1899527464" sldId="2147471062"/>
            <ac:cxnSpMk id="24" creationId="{DC733917-33F5-4840-BA90-3538C6C1D0D3}"/>
          </ac:cxnSpMkLst>
        </pc:cxnChg>
        <pc:cxnChg chg="add del">
          <ac:chgData name="Daphne Chuah" userId="750c03d4-b9ac-4705-9aff-70c8b686d073" providerId="ADAL" clId="{980AD1F5-B4C2-40B4-8E7A-4E799A0E89BD}" dt="2022-07-25T08:18:11.124" v="480" actId="21"/>
          <ac:cxnSpMkLst>
            <pc:docMk/>
            <pc:sldMk cId="1899527464" sldId="2147471062"/>
            <ac:cxnSpMk id="28" creationId="{083B5FF2-864C-4C67-8390-4772BCD51AB2}"/>
          </ac:cxnSpMkLst>
        </pc:cxnChg>
        <pc:cxnChg chg="add del mod">
          <ac:chgData name="Daphne Chuah" userId="750c03d4-b9ac-4705-9aff-70c8b686d073" providerId="ADAL" clId="{980AD1F5-B4C2-40B4-8E7A-4E799A0E89BD}" dt="2022-07-25T08:18:11.124" v="480" actId="21"/>
          <ac:cxnSpMkLst>
            <pc:docMk/>
            <pc:sldMk cId="1899527464" sldId="2147471062"/>
            <ac:cxnSpMk id="30" creationId="{FAD03B78-48D7-49DE-AB96-49CD9DAC08A0}"/>
          </ac:cxnSpMkLst>
        </pc:cxnChg>
      </pc:sldChg>
      <pc:sldChg chg="add del mod modShow">
        <pc:chgData name="Daphne Chuah" userId="750c03d4-b9ac-4705-9aff-70c8b686d073" providerId="ADAL" clId="{980AD1F5-B4C2-40B4-8E7A-4E799A0E89BD}" dt="2022-07-25T08:40:26.375" v="914" actId="47"/>
        <pc:sldMkLst>
          <pc:docMk/>
          <pc:sldMk cId="747122710" sldId="2147471074"/>
        </pc:sldMkLst>
      </pc:sldChg>
      <pc:sldChg chg="add del">
        <pc:chgData name="Daphne Chuah" userId="750c03d4-b9ac-4705-9aff-70c8b686d073" providerId="ADAL" clId="{980AD1F5-B4C2-40B4-8E7A-4E799A0E89BD}" dt="2022-07-25T07:29:01.501" v="377" actId="2696"/>
        <pc:sldMkLst>
          <pc:docMk/>
          <pc:sldMk cId="4259252284" sldId="2147471074"/>
        </pc:sldMkLst>
      </pc:sldChg>
      <pc:sldChg chg="add del mod modShow">
        <pc:chgData name="Daphne Chuah" userId="750c03d4-b9ac-4705-9aff-70c8b686d073" providerId="ADAL" clId="{980AD1F5-B4C2-40B4-8E7A-4E799A0E89BD}" dt="2022-07-25T08:40:25.769" v="913" actId="47"/>
        <pc:sldMkLst>
          <pc:docMk/>
          <pc:sldMk cId="1807913344" sldId="2147471075"/>
        </pc:sldMkLst>
      </pc:sldChg>
      <pc:sldChg chg="add del">
        <pc:chgData name="Daphne Chuah" userId="750c03d4-b9ac-4705-9aff-70c8b686d073" providerId="ADAL" clId="{980AD1F5-B4C2-40B4-8E7A-4E799A0E89BD}" dt="2022-07-25T07:29:01.501" v="377" actId="2696"/>
        <pc:sldMkLst>
          <pc:docMk/>
          <pc:sldMk cId="4141446070" sldId="2147471075"/>
        </pc:sldMkLst>
      </pc:sldChg>
      <pc:sldChg chg="add del">
        <pc:chgData name="Daphne Chuah" userId="750c03d4-b9ac-4705-9aff-70c8b686d073" providerId="ADAL" clId="{980AD1F5-B4C2-40B4-8E7A-4E799A0E89BD}" dt="2022-07-25T07:29:01.501" v="377" actId="2696"/>
        <pc:sldMkLst>
          <pc:docMk/>
          <pc:sldMk cId="413914891" sldId="2147471078"/>
        </pc:sldMkLst>
      </pc:sldChg>
      <pc:sldChg chg="add del mod modShow">
        <pc:chgData name="Daphne Chuah" userId="750c03d4-b9ac-4705-9aff-70c8b686d073" providerId="ADAL" clId="{980AD1F5-B4C2-40B4-8E7A-4E799A0E89BD}" dt="2022-07-25T08:40:26.919" v="915" actId="47"/>
        <pc:sldMkLst>
          <pc:docMk/>
          <pc:sldMk cId="2943548758" sldId="2147471078"/>
        </pc:sldMkLst>
      </pc:sldChg>
      <pc:sldChg chg="ord">
        <pc:chgData name="Daphne Chuah" userId="750c03d4-b9ac-4705-9aff-70c8b686d073" providerId="ADAL" clId="{980AD1F5-B4C2-40B4-8E7A-4E799A0E89BD}" dt="2022-07-24T23:42:21.870" v="216"/>
        <pc:sldMkLst>
          <pc:docMk/>
          <pc:sldMk cId="570161720" sldId="2147471082"/>
        </pc:sldMkLst>
      </pc:sldChg>
      <pc:sldChg chg="add ord">
        <pc:chgData name="Daphne Chuah" userId="750c03d4-b9ac-4705-9aff-70c8b686d073" providerId="ADAL" clId="{980AD1F5-B4C2-40B4-8E7A-4E799A0E89BD}" dt="2022-07-25T08:40:08.429" v="912"/>
        <pc:sldMkLst>
          <pc:docMk/>
          <pc:sldMk cId="2839314277" sldId="2147471093"/>
        </pc:sldMkLst>
      </pc:sldChg>
      <pc:sldChg chg="ord">
        <pc:chgData name="Daphne Chuah" userId="750c03d4-b9ac-4705-9aff-70c8b686d073" providerId="ADAL" clId="{980AD1F5-B4C2-40B4-8E7A-4E799A0E89BD}" dt="2022-07-24T23:46:03.052" v="357"/>
        <pc:sldMkLst>
          <pc:docMk/>
          <pc:sldMk cId="1711214495" sldId="2147471094"/>
        </pc:sldMkLst>
      </pc:sldChg>
      <pc:sldChg chg="addSp delSp modSp mod delCm modCm">
        <pc:chgData name="Daphne Chuah" userId="750c03d4-b9ac-4705-9aff-70c8b686d073" providerId="ADAL" clId="{980AD1F5-B4C2-40B4-8E7A-4E799A0E89BD}" dt="2022-07-25T08:52:06.968" v="1045" actId="1036"/>
        <pc:sldMkLst>
          <pc:docMk/>
          <pc:sldMk cId="22431195" sldId="2147471095"/>
        </pc:sldMkLst>
        <pc:spChg chg="del">
          <ac:chgData name="Daphne Chuah" userId="750c03d4-b9ac-4705-9aff-70c8b686d073" providerId="ADAL" clId="{980AD1F5-B4C2-40B4-8E7A-4E799A0E89BD}" dt="2022-07-25T08:13:13.034" v="383" actId="478"/>
          <ac:spMkLst>
            <pc:docMk/>
            <pc:sldMk cId="22431195" sldId="2147471095"/>
            <ac:spMk id="2" creationId="{5762F670-00D6-4DEE-68F9-A2AE9501FAE8}"/>
          </ac:spMkLst>
        </pc:spChg>
        <pc:spChg chg="mod">
          <ac:chgData name="Daphne Chuah" userId="750c03d4-b9ac-4705-9aff-70c8b686d073" providerId="ADAL" clId="{980AD1F5-B4C2-40B4-8E7A-4E799A0E89BD}" dt="2022-07-24T23:38:29.915" v="170" actId="1036"/>
          <ac:spMkLst>
            <pc:docMk/>
            <pc:sldMk cId="22431195" sldId="2147471095"/>
            <ac:spMk id="3" creationId="{75C0981B-8FC3-5D47-8A07-38BB68272DEA}"/>
          </ac:spMkLst>
        </pc:spChg>
        <pc:spChg chg="mod">
          <ac:chgData name="Daphne Chuah" userId="750c03d4-b9ac-4705-9aff-70c8b686d073" providerId="ADAL" clId="{980AD1F5-B4C2-40B4-8E7A-4E799A0E89BD}" dt="2022-07-24T23:37:24.423" v="8" actId="20577"/>
          <ac:spMkLst>
            <pc:docMk/>
            <pc:sldMk cId="22431195" sldId="2147471095"/>
            <ac:spMk id="4" creationId="{70332F8D-D02E-B843-A94D-54EDF7914B0C}"/>
          </ac:spMkLst>
        </pc:spChg>
        <pc:spChg chg="add del mod">
          <ac:chgData name="Daphne Chuah" userId="750c03d4-b9ac-4705-9aff-70c8b686d073" providerId="ADAL" clId="{980AD1F5-B4C2-40B4-8E7A-4E799A0E89BD}" dt="2022-07-25T08:51:36.100" v="1032" actId="478"/>
          <ac:spMkLst>
            <pc:docMk/>
            <pc:sldMk cId="22431195" sldId="2147471095"/>
            <ac:spMk id="5" creationId="{FC12FECF-4A0E-520E-FABB-73CFAACE5A6F}"/>
          </ac:spMkLst>
        </pc:spChg>
        <pc:spChg chg="mod">
          <ac:chgData name="Daphne Chuah" userId="750c03d4-b9ac-4705-9aff-70c8b686d073" providerId="ADAL" clId="{980AD1F5-B4C2-40B4-8E7A-4E799A0E89BD}" dt="2022-07-25T08:13:54.678" v="391" actId="1076"/>
          <ac:spMkLst>
            <pc:docMk/>
            <pc:sldMk cId="22431195" sldId="2147471095"/>
            <ac:spMk id="16" creationId="{6D12F7E0-9CF9-B347-A5AF-B41B199A29D5}"/>
          </ac:spMkLst>
        </pc:spChg>
        <pc:spChg chg="add mod">
          <ac:chgData name="Daphne Chuah" userId="750c03d4-b9ac-4705-9aff-70c8b686d073" providerId="ADAL" clId="{980AD1F5-B4C2-40B4-8E7A-4E799A0E89BD}" dt="2022-07-25T08:52:04.862" v="1042" actId="14100"/>
          <ac:spMkLst>
            <pc:docMk/>
            <pc:sldMk cId="22431195" sldId="2147471095"/>
            <ac:spMk id="19" creationId="{5BC30D56-78EA-B8CA-6278-B2ECC55537BB}"/>
          </ac:spMkLst>
        </pc:spChg>
        <pc:picChg chg="add mod ord">
          <ac:chgData name="Daphne Chuah" userId="750c03d4-b9ac-4705-9aff-70c8b686d073" providerId="ADAL" clId="{980AD1F5-B4C2-40B4-8E7A-4E799A0E89BD}" dt="2022-07-25T08:51:49.387" v="1037" actId="1076"/>
          <ac:picMkLst>
            <pc:docMk/>
            <pc:sldMk cId="22431195" sldId="2147471095"/>
            <ac:picMk id="18" creationId="{62E9BC2C-608F-7915-AC1D-6EB5D49A9307}"/>
          </ac:picMkLst>
        </pc:picChg>
        <pc:picChg chg="add mod modCrop">
          <ac:chgData name="Daphne Chuah" userId="750c03d4-b9ac-4705-9aff-70c8b686d073" providerId="ADAL" clId="{980AD1F5-B4C2-40B4-8E7A-4E799A0E89BD}" dt="2022-07-25T08:52:06.968" v="1045" actId="1036"/>
          <ac:picMkLst>
            <pc:docMk/>
            <pc:sldMk cId="22431195" sldId="2147471095"/>
            <ac:picMk id="20" creationId="{C5227446-55D9-C190-6E0C-F521F5B4E3F3}"/>
          </ac:picMkLst>
        </pc:picChg>
      </pc:sldChg>
      <pc:sldChg chg="add del">
        <pc:chgData name="Daphne Chuah" userId="750c03d4-b9ac-4705-9aff-70c8b686d073" providerId="ADAL" clId="{980AD1F5-B4C2-40B4-8E7A-4E799A0E89BD}" dt="2022-07-25T05:58:57.601" v="368" actId="47"/>
        <pc:sldMkLst>
          <pc:docMk/>
          <pc:sldMk cId="3147579721" sldId="2147471099"/>
        </pc:sldMkLst>
      </pc:sldChg>
      <pc:sldChg chg="del">
        <pc:chgData name="Daphne Chuah" userId="750c03d4-b9ac-4705-9aff-70c8b686d073" providerId="ADAL" clId="{980AD1F5-B4C2-40B4-8E7A-4E799A0E89BD}" dt="2022-07-24T23:45:31.292" v="354" actId="2696"/>
        <pc:sldMkLst>
          <pc:docMk/>
          <pc:sldMk cId="3506569019" sldId="2147471099"/>
        </pc:sldMkLst>
      </pc:sldChg>
      <pc:sldChg chg="addSp delSp modSp add mod">
        <pc:chgData name="Daphne Chuah" userId="750c03d4-b9ac-4705-9aff-70c8b686d073" providerId="ADAL" clId="{980AD1F5-B4C2-40B4-8E7A-4E799A0E89BD}" dt="2022-07-24T23:42:52.873" v="218"/>
        <pc:sldMkLst>
          <pc:docMk/>
          <pc:sldMk cId="1996625289" sldId="2147471100"/>
        </pc:sldMkLst>
        <pc:spChg chg="mod">
          <ac:chgData name="Daphne Chuah" userId="750c03d4-b9ac-4705-9aff-70c8b686d073" providerId="ADAL" clId="{980AD1F5-B4C2-40B4-8E7A-4E799A0E89BD}" dt="2022-07-24T23:41:22.470" v="189" actId="20577"/>
          <ac:spMkLst>
            <pc:docMk/>
            <pc:sldMk cId="1996625289" sldId="2147471100"/>
            <ac:spMk id="2" creationId="{58E21E70-BAC3-4D15-8CED-1436C4C061D6}"/>
          </ac:spMkLst>
        </pc:spChg>
        <pc:spChg chg="mod">
          <ac:chgData name="Daphne Chuah" userId="750c03d4-b9ac-4705-9aff-70c8b686d073" providerId="ADAL" clId="{980AD1F5-B4C2-40B4-8E7A-4E799A0E89BD}" dt="2022-07-24T23:40:57.950" v="180" actId="14100"/>
          <ac:spMkLst>
            <pc:docMk/>
            <pc:sldMk cId="1996625289" sldId="2147471100"/>
            <ac:spMk id="4" creationId="{97A325EC-3DC5-476E-B15A-4E252D2567DB}"/>
          </ac:spMkLst>
        </pc:spChg>
        <pc:spChg chg="del">
          <ac:chgData name="Daphne Chuah" userId="750c03d4-b9ac-4705-9aff-70c8b686d073" providerId="ADAL" clId="{980AD1F5-B4C2-40B4-8E7A-4E799A0E89BD}" dt="2022-07-24T23:40:20.164" v="174" actId="478"/>
          <ac:spMkLst>
            <pc:docMk/>
            <pc:sldMk cId="1996625289" sldId="2147471100"/>
            <ac:spMk id="14" creationId="{6080EB36-6CBD-40C1-A4BE-264AF684ECD7}"/>
          </ac:spMkLst>
        </pc:spChg>
        <pc:spChg chg="del">
          <ac:chgData name="Daphne Chuah" userId="750c03d4-b9ac-4705-9aff-70c8b686d073" providerId="ADAL" clId="{980AD1F5-B4C2-40B4-8E7A-4E799A0E89BD}" dt="2022-07-24T23:40:20.164" v="174" actId="478"/>
          <ac:spMkLst>
            <pc:docMk/>
            <pc:sldMk cId="1996625289" sldId="2147471100"/>
            <ac:spMk id="15" creationId="{B32F0B7B-ECCC-4CA1-8DC7-3142FC19ACF9}"/>
          </ac:spMkLst>
        </pc:spChg>
        <pc:spChg chg="del">
          <ac:chgData name="Daphne Chuah" userId="750c03d4-b9ac-4705-9aff-70c8b686d073" providerId="ADAL" clId="{980AD1F5-B4C2-40B4-8E7A-4E799A0E89BD}" dt="2022-07-24T23:40:20.164" v="174" actId="478"/>
          <ac:spMkLst>
            <pc:docMk/>
            <pc:sldMk cId="1996625289" sldId="2147471100"/>
            <ac:spMk id="16" creationId="{ECB50BE8-A04B-417D-9B77-87C67CFC3F83}"/>
          </ac:spMkLst>
        </pc:spChg>
        <pc:spChg chg="del">
          <ac:chgData name="Daphne Chuah" userId="750c03d4-b9ac-4705-9aff-70c8b686d073" providerId="ADAL" clId="{980AD1F5-B4C2-40B4-8E7A-4E799A0E89BD}" dt="2022-07-24T23:40:20.164" v="174" actId="478"/>
          <ac:spMkLst>
            <pc:docMk/>
            <pc:sldMk cId="1996625289" sldId="2147471100"/>
            <ac:spMk id="17" creationId="{561680C6-EBC8-48BC-8A61-54472FE1E6E9}"/>
          </ac:spMkLst>
        </pc:spChg>
        <pc:spChg chg="del">
          <ac:chgData name="Daphne Chuah" userId="750c03d4-b9ac-4705-9aff-70c8b686d073" providerId="ADAL" clId="{980AD1F5-B4C2-40B4-8E7A-4E799A0E89BD}" dt="2022-07-24T23:40:20.164" v="174" actId="478"/>
          <ac:spMkLst>
            <pc:docMk/>
            <pc:sldMk cId="1996625289" sldId="2147471100"/>
            <ac:spMk id="25" creationId="{62C68755-243C-496E-B3C4-41E34F8CA380}"/>
          </ac:spMkLst>
        </pc:spChg>
        <pc:spChg chg="del">
          <ac:chgData name="Daphne Chuah" userId="750c03d4-b9ac-4705-9aff-70c8b686d073" providerId="ADAL" clId="{980AD1F5-B4C2-40B4-8E7A-4E799A0E89BD}" dt="2022-07-24T23:40:20.164" v="174" actId="478"/>
          <ac:spMkLst>
            <pc:docMk/>
            <pc:sldMk cId="1996625289" sldId="2147471100"/>
            <ac:spMk id="26" creationId="{98050498-6303-4B27-9435-CC6A378C4126}"/>
          </ac:spMkLst>
        </pc:spChg>
        <pc:spChg chg="del">
          <ac:chgData name="Daphne Chuah" userId="750c03d4-b9ac-4705-9aff-70c8b686d073" providerId="ADAL" clId="{980AD1F5-B4C2-40B4-8E7A-4E799A0E89BD}" dt="2022-07-24T23:40:20.164" v="174" actId="478"/>
          <ac:spMkLst>
            <pc:docMk/>
            <pc:sldMk cId="1996625289" sldId="2147471100"/>
            <ac:spMk id="27" creationId="{0A1CF55E-ED37-49BA-B33A-7116DDA15149}"/>
          </ac:spMkLst>
        </pc:spChg>
        <pc:spChg chg="del">
          <ac:chgData name="Daphne Chuah" userId="750c03d4-b9ac-4705-9aff-70c8b686d073" providerId="ADAL" clId="{980AD1F5-B4C2-40B4-8E7A-4E799A0E89BD}" dt="2022-07-24T23:40:20.164" v="174" actId="478"/>
          <ac:spMkLst>
            <pc:docMk/>
            <pc:sldMk cId="1996625289" sldId="2147471100"/>
            <ac:spMk id="29" creationId="{42A3045A-C34F-4B54-932A-ECFA9669899E}"/>
          </ac:spMkLst>
        </pc:spChg>
        <pc:spChg chg="del">
          <ac:chgData name="Daphne Chuah" userId="750c03d4-b9ac-4705-9aff-70c8b686d073" providerId="ADAL" clId="{980AD1F5-B4C2-40B4-8E7A-4E799A0E89BD}" dt="2022-07-24T23:40:20.164" v="174" actId="478"/>
          <ac:spMkLst>
            <pc:docMk/>
            <pc:sldMk cId="1996625289" sldId="2147471100"/>
            <ac:spMk id="31" creationId="{3D56E5B0-9236-4C7E-8B48-BA42C3506C63}"/>
          </ac:spMkLst>
        </pc:spChg>
        <pc:spChg chg="del">
          <ac:chgData name="Daphne Chuah" userId="750c03d4-b9ac-4705-9aff-70c8b686d073" providerId="ADAL" clId="{980AD1F5-B4C2-40B4-8E7A-4E799A0E89BD}" dt="2022-07-24T23:40:20.164" v="174" actId="478"/>
          <ac:spMkLst>
            <pc:docMk/>
            <pc:sldMk cId="1996625289" sldId="2147471100"/>
            <ac:spMk id="32" creationId="{34DB7D20-7485-4DA4-8FE1-4079724A706A}"/>
          </ac:spMkLst>
        </pc:spChg>
        <pc:spChg chg="del">
          <ac:chgData name="Daphne Chuah" userId="750c03d4-b9ac-4705-9aff-70c8b686d073" providerId="ADAL" clId="{980AD1F5-B4C2-40B4-8E7A-4E799A0E89BD}" dt="2022-07-24T23:40:20.164" v="174" actId="478"/>
          <ac:spMkLst>
            <pc:docMk/>
            <pc:sldMk cId="1996625289" sldId="2147471100"/>
            <ac:spMk id="33" creationId="{F39B6605-DE0B-4AC8-999A-E02638D019BF}"/>
          </ac:spMkLst>
        </pc:spChg>
        <pc:spChg chg="add mod">
          <ac:chgData name="Daphne Chuah" userId="750c03d4-b9ac-4705-9aff-70c8b686d073" providerId="ADAL" clId="{980AD1F5-B4C2-40B4-8E7A-4E799A0E89BD}" dt="2022-07-24T23:41:12.775" v="183"/>
          <ac:spMkLst>
            <pc:docMk/>
            <pc:sldMk cId="1996625289" sldId="2147471100"/>
            <ac:spMk id="44" creationId="{599C27DA-E431-7AA3-EFD5-DB9F395E1C71}"/>
          </ac:spMkLst>
        </pc:spChg>
        <pc:spChg chg="add mod">
          <ac:chgData name="Daphne Chuah" userId="750c03d4-b9ac-4705-9aff-70c8b686d073" providerId="ADAL" clId="{980AD1F5-B4C2-40B4-8E7A-4E799A0E89BD}" dt="2022-07-24T23:41:12.775" v="183"/>
          <ac:spMkLst>
            <pc:docMk/>
            <pc:sldMk cId="1996625289" sldId="2147471100"/>
            <ac:spMk id="45" creationId="{8044F2EE-424F-C62F-C021-0FA07579ECBF}"/>
          </ac:spMkLst>
        </pc:spChg>
        <pc:spChg chg="add mod">
          <ac:chgData name="Daphne Chuah" userId="750c03d4-b9ac-4705-9aff-70c8b686d073" providerId="ADAL" clId="{980AD1F5-B4C2-40B4-8E7A-4E799A0E89BD}" dt="2022-07-24T23:41:12.775" v="183"/>
          <ac:spMkLst>
            <pc:docMk/>
            <pc:sldMk cId="1996625289" sldId="2147471100"/>
            <ac:spMk id="46" creationId="{C6F24D4C-AEF2-DC6D-D8C0-AEDF44417476}"/>
          </ac:spMkLst>
        </pc:spChg>
        <pc:spChg chg="add mod">
          <ac:chgData name="Daphne Chuah" userId="750c03d4-b9ac-4705-9aff-70c8b686d073" providerId="ADAL" clId="{980AD1F5-B4C2-40B4-8E7A-4E799A0E89BD}" dt="2022-07-24T23:41:12.775" v="183"/>
          <ac:spMkLst>
            <pc:docMk/>
            <pc:sldMk cId="1996625289" sldId="2147471100"/>
            <ac:spMk id="47" creationId="{7F6074DB-1460-12EE-4359-0D21C0EB1373}"/>
          </ac:spMkLst>
        </pc:spChg>
        <pc:spChg chg="add mod">
          <ac:chgData name="Daphne Chuah" userId="750c03d4-b9ac-4705-9aff-70c8b686d073" providerId="ADAL" clId="{980AD1F5-B4C2-40B4-8E7A-4E799A0E89BD}" dt="2022-07-24T23:41:12.775" v="183"/>
          <ac:spMkLst>
            <pc:docMk/>
            <pc:sldMk cId="1996625289" sldId="2147471100"/>
            <ac:spMk id="52" creationId="{CAE301F5-DF13-8C9B-0531-E442A4650A7C}"/>
          </ac:spMkLst>
        </pc:spChg>
        <pc:spChg chg="add mod">
          <ac:chgData name="Daphne Chuah" userId="750c03d4-b9ac-4705-9aff-70c8b686d073" providerId="ADAL" clId="{980AD1F5-B4C2-40B4-8E7A-4E799A0E89BD}" dt="2022-07-24T23:41:12.775" v="183"/>
          <ac:spMkLst>
            <pc:docMk/>
            <pc:sldMk cId="1996625289" sldId="2147471100"/>
            <ac:spMk id="53" creationId="{23C0693F-8033-1BB5-FA74-672CC0159D83}"/>
          </ac:spMkLst>
        </pc:spChg>
        <pc:spChg chg="add mod">
          <ac:chgData name="Daphne Chuah" userId="750c03d4-b9ac-4705-9aff-70c8b686d073" providerId="ADAL" clId="{980AD1F5-B4C2-40B4-8E7A-4E799A0E89BD}" dt="2022-07-24T23:41:12.775" v="183"/>
          <ac:spMkLst>
            <pc:docMk/>
            <pc:sldMk cId="1996625289" sldId="2147471100"/>
            <ac:spMk id="54" creationId="{140B3D05-BCD0-C526-2E26-D73BE1154CB3}"/>
          </ac:spMkLst>
        </pc:spChg>
        <pc:spChg chg="add mod">
          <ac:chgData name="Daphne Chuah" userId="750c03d4-b9ac-4705-9aff-70c8b686d073" providerId="ADAL" clId="{980AD1F5-B4C2-40B4-8E7A-4E799A0E89BD}" dt="2022-07-24T23:41:12.775" v="183"/>
          <ac:spMkLst>
            <pc:docMk/>
            <pc:sldMk cId="1996625289" sldId="2147471100"/>
            <ac:spMk id="55" creationId="{D1254CF3-50C0-5C8C-2359-6C29AF434FFA}"/>
          </ac:spMkLst>
        </pc:spChg>
        <pc:spChg chg="add mod">
          <ac:chgData name="Daphne Chuah" userId="750c03d4-b9ac-4705-9aff-70c8b686d073" providerId="ADAL" clId="{980AD1F5-B4C2-40B4-8E7A-4E799A0E89BD}" dt="2022-07-24T23:41:12.775" v="183"/>
          <ac:spMkLst>
            <pc:docMk/>
            <pc:sldMk cId="1996625289" sldId="2147471100"/>
            <ac:spMk id="56" creationId="{6E6E7431-B78A-564B-86F9-5110EF28A6CC}"/>
          </ac:spMkLst>
        </pc:spChg>
        <pc:spChg chg="add mod">
          <ac:chgData name="Daphne Chuah" userId="750c03d4-b9ac-4705-9aff-70c8b686d073" providerId="ADAL" clId="{980AD1F5-B4C2-40B4-8E7A-4E799A0E89BD}" dt="2022-07-24T23:42:52.873" v="218"/>
          <ac:spMkLst>
            <pc:docMk/>
            <pc:sldMk cId="1996625289" sldId="2147471100"/>
            <ac:spMk id="57" creationId="{AC20F22C-4611-9945-EAF6-21AF75AC1FC2}"/>
          </ac:spMkLst>
        </pc:spChg>
        <pc:grpChg chg="del">
          <ac:chgData name="Daphne Chuah" userId="750c03d4-b9ac-4705-9aff-70c8b686d073" providerId="ADAL" clId="{980AD1F5-B4C2-40B4-8E7A-4E799A0E89BD}" dt="2022-07-24T23:40:20.164" v="174" actId="478"/>
          <ac:grpSpMkLst>
            <pc:docMk/>
            <pc:sldMk cId="1996625289" sldId="2147471100"/>
            <ac:grpSpMk id="18" creationId="{50DEE370-AC3A-4229-A3F6-23FA95B1DBD0}"/>
          </ac:grpSpMkLst>
        </pc:grpChg>
        <pc:grpChg chg="del">
          <ac:chgData name="Daphne Chuah" userId="750c03d4-b9ac-4705-9aff-70c8b686d073" providerId="ADAL" clId="{980AD1F5-B4C2-40B4-8E7A-4E799A0E89BD}" dt="2022-07-24T23:40:20.164" v="174" actId="478"/>
          <ac:grpSpMkLst>
            <pc:docMk/>
            <pc:sldMk cId="1996625289" sldId="2147471100"/>
            <ac:grpSpMk id="34" creationId="{60EACC46-A3C1-43E5-85ED-3FF06FF7359A}"/>
          </ac:grpSpMkLst>
        </pc:grpChg>
        <pc:grpChg chg="add mod">
          <ac:chgData name="Daphne Chuah" userId="750c03d4-b9ac-4705-9aff-70c8b686d073" providerId="ADAL" clId="{980AD1F5-B4C2-40B4-8E7A-4E799A0E89BD}" dt="2022-07-24T23:41:12.775" v="183"/>
          <ac:grpSpMkLst>
            <pc:docMk/>
            <pc:sldMk cId="1996625289" sldId="2147471100"/>
            <ac:grpSpMk id="48" creationId="{532C9DDE-6BDB-2EAA-7FDD-71301FB32921}"/>
          </ac:grpSpMkLst>
        </pc:grpChg>
        <pc:picChg chg="add mod">
          <ac:chgData name="Daphne Chuah" userId="750c03d4-b9ac-4705-9aff-70c8b686d073" providerId="ADAL" clId="{980AD1F5-B4C2-40B4-8E7A-4E799A0E89BD}" dt="2022-07-24T23:41:12.775" v="183"/>
          <ac:picMkLst>
            <pc:docMk/>
            <pc:sldMk cId="1996625289" sldId="2147471100"/>
            <ac:picMk id="38" creationId="{B7EF5429-4EDD-1EF2-C4FD-D09425ED7FD2}"/>
          </ac:picMkLst>
        </pc:picChg>
        <pc:picChg chg="add mod">
          <ac:chgData name="Daphne Chuah" userId="750c03d4-b9ac-4705-9aff-70c8b686d073" providerId="ADAL" clId="{980AD1F5-B4C2-40B4-8E7A-4E799A0E89BD}" dt="2022-07-24T23:41:12.775" v="183"/>
          <ac:picMkLst>
            <pc:docMk/>
            <pc:sldMk cId="1996625289" sldId="2147471100"/>
            <ac:picMk id="39" creationId="{D9C126D1-B9C9-2A61-CF1D-1FF704939A06}"/>
          </ac:picMkLst>
        </pc:picChg>
        <pc:picChg chg="add mod">
          <ac:chgData name="Daphne Chuah" userId="750c03d4-b9ac-4705-9aff-70c8b686d073" providerId="ADAL" clId="{980AD1F5-B4C2-40B4-8E7A-4E799A0E89BD}" dt="2022-07-24T23:41:12.775" v="183"/>
          <ac:picMkLst>
            <pc:docMk/>
            <pc:sldMk cId="1996625289" sldId="2147471100"/>
            <ac:picMk id="40" creationId="{98F3C482-63E8-14D0-450C-FEDD6F5C5BB1}"/>
          </ac:picMkLst>
        </pc:picChg>
        <pc:picChg chg="add mod">
          <ac:chgData name="Daphne Chuah" userId="750c03d4-b9ac-4705-9aff-70c8b686d073" providerId="ADAL" clId="{980AD1F5-B4C2-40B4-8E7A-4E799A0E89BD}" dt="2022-07-24T23:41:12.775" v="183"/>
          <ac:picMkLst>
            <pc:docMk/>
            <pc:sldMk cId="1996625289" sldId="2147471100"/>
            <ac:picMk id="41" creationId="{53CCC793-5B5B-B5E7-EDFF-416196C9B175}"/>
          </ac:picMkLst>
        </pc:picChg>
        <pc:picChg chg="add mod">
          <ac:chgData name="Daphne Chuah" userId="750c03d4-b9ac-4705-9aff-70c8b686d073" providerId="ADAL" clId="{980AD1F5-B4C2-40B4-8E7A-4E799A0E89BD}" dt="2022-07-24T23:41:12.775" v="183"/>
          <ac:picMkLst>
            <pc:docMk/>
            <pc:sldMk cId="1996625289" sldId="2147471100"/>
            <ac:picMk id="42" creationId="{7AFB5555-A2C0-D74A-FF14-175E6E76AD4C}"/>
          </ac:picMkLst>
        </pc:picChg>
        <pc:picChg chg="add mod">
          <ac:chgData name="Daphne Chuah" userId="750c03d4-b9ac-4705-9aff-70c8b686d073" providerId="ADAL" clId="{980AD1F5-B4C2-40B4-8E7A-4E799A0E89BD}" dt="2022-07-24T23:41:12.775" v="183"/>
          <ac:picMkLst>
            <pc:docMk/>
            <pc:sldMk cId="1996625289" sldId="2147471100"/>
            <ac:picMk id="43" creationId="{1DDE97B7-C89C-DCAD-CE81-76BDC2F0FBD6}"/>
          </ac:picMkLst>
        </pc:picChg>
        <pc:picChg chg="mod">
          <ac:chgData name="Daphne Chuah" userId="750c03d4-b9ac-4705-9aff-70c8b686d073" providerId="ADAL" clId="{980AD1F5-B4C2-40B4-8E7A-4E799A0E89BD}" dt="2022-07-24T23:41:12.775" v="183"/>
          <ac:picMkLst>
            <pc:docMk/>
            <pc:sldMk cId="1996625289" sldId="2147471100"/>
            <ac:picMk id="49" creationId="{9A016412-9C19-2F60-8664-65A5294A02A5}"/>
          </ac:picMkLst>
        </pc:picChg>
        <pc:picChg chg="mod">
          <ac:chgData name="Daphne Chuah" userId="750c03d4-b9ac-4705-9aff-70c8b686d073" providerId="ADAL" clId="{980AD1F5-B4C2-40B4-8E7A-4E799A0E89BD}" dt="2022-07-24T23:41:12.775" v="183"/>
          <ac:picMkLst>
            <pc:docMk/>
            <pc:sldMk cId="1996625289" sldId="2147471100"/>
            <ac:picMk id="50" creationId="{B99FC2E1-C428-69E8-A933-A7D2DA4FF44C}"/>
          </ac:picMkLst>
        </pc:picChg>
        <pc:picChg chg="mod">
          <ac:chgData name="Daphne Chuah" userId="750c03d4-b9ac-4705-9aff-70c8b686d073" providerId="ADAL" clId="{980AD1F5-B4C2-40B4-8E7A-4E799A0E89BD}" dt="2022-07-24T23:41:12.775" v="183"/>
          <ac:picMkLst>
            <pc:docMk/>
            <pc:sldMk cId="1996625289" sldId="2147471100"/>
            <ac:picMk id="51" creationId="{6635505B-CB91-F89E-89F9-83FD3EAB323D}"/>
          </ac:picMkLst>
        </pc:picChg>
        <pc:cxnChg chg="del">
          <ac:chgData name="Daphne Chuah" userId="750c03d4-b9ac-4705-9aff-70c8b686d073" providerId="ADAL" clId="{980AD1F5-B4C2-40B4-8E7A-4E799A0E89BD}" dt="2022-07-24T23:40:20.164" v="174" actId="478"/>
          <ac:cxnSpMkLst>
            <pc:docMk/>
            <pc:sldMk cId="1996625289" sldId="2147471100"/>
            <ac:cxnSpMk id="22" creationId="{4B980E6E-BC10-4134-85C9-865E5E9EC5EA}"/>
          </ac:cxnSpMkLst>
        </pc:cxnChg>
        <pc:cxnChg chg="del">
          <ac:chgData name="Daphne Chuah" userId="750c03d4-b9ac-4705-9aff-70c8b686d073" providerId="ADAL" clId="{980AD1F5-B4C2-40B4-8E7A-4E799A0E89BD}" dt="2022-07-24T23:40:20.164" v="174" actId="478"/>
          <ac:cxnSpMkLst>
            <pc:docMk/>
            <pc:sldMk cId="1996625289" sldId="2147471100"/>
            <ac:cxnSpMk id="23" creationId="{65B5E19D-CB4F-4D62-8E18-1042E8B0E5A1}"/>
          </ac:cxnSpMkLst>
        </pc:cxnChg>
        <pc:cxnChg chg="del">
          <ac:chgData name="Daphne Chuah" userId="750c03d4-b9ac-4705-9aff-70c8b686d073" providerId="ADAL" clId="{980AD1F5-B4C2-40B4-8E7A-4E799A0E89BD}" dt="2022-07-24T23:40:20.164" v="174" actId="478"/>
          <ac:cxnSpMkLst>
            <pc:docMk/>
            <pc:sldMk cId="1996625289" sldId="2147471100"/>
            <ac:cxnSpMk id="24" creationId="{DC733917-33F5-4840-BA90-3538C6C1D0D3}"/>
          </ac:cxnSpMkLst>
        </pc:cxnChg>
        <pc:cxnChg chg="del">
          <ac:chgData name="Daphne Chuah" userId="750c03d4-b9ac-4705-9aff-70c8b686d073" providerId="ADAL" clId="{980AD1F5-B4C2-40B4-8E7A-4E799A0E89BD}" dt="2022-07-24T23:40:20.164" v="174" actId="478"/>
          <ac:cxnSpMkLst>
            <pc:docMk/>
            <pc:sldMk cId="1996625289" sldId="2147471100"/>
            <ac:cxnSpMk id="28" creationId="{083B5FF2-864C-4C67-8390-4772BCD51AB2}"/>
          </ac:cxnSpMkLst>
        </pc:cxnChg>
        <pc:cxnChg chg="del mod">
          <ac:chgData name="Daphne Chuah" userId="750c03d4-b9ac-4705-9aff-70c8b686d073" providerId="ADAL" clId="{980AD1F5-B4C2-40B4-8E7A-4E799A0E89BD}" dt="2022-07-24T23:40:20.164" v="174" actId="478"/>
          <ac:cxnSpMkLst>
            <pc:docMk/>
            <pc:sldMk cId="1996625289" sldId="2147471100"/>
            <ac:cxnSpMk id="30" creationId="{FAD03B78-48D7-49DE-AB96-49CD9DAC08A0}"/>
          </ac:cxnSpMkLst>
        </pc:cxnChg>
      </pc:sldChg>
      <pc:sldChg chg="addSp delSp modSp add mod">
        <pc:chgData name="Daphne Chuah" userId="750c03d4-b9ac-4705-9aff-70c8b686d073" providerId="ADAL" clId="{980AD1F5-B4C2-40B4-8E7A-4E799A0E89BD}" dt="2022-07-24T23:44:40.448" v="351"/>
        <pc:sldMkLst>
          <pc:docMk/>
          <pc:sldMk cId="2012620193" sldId="2147471101"/>
        </pc:sldMkLst>
        <pc:spChg chg="mod">
          <ac:chgData name="Daphne Chuah" userId="750c03d4-b9ac-4705-9aff-70c8b686d073" providerId="ADAL" clId="{980AD1F5-B4C2-40B4-8E7A-4E799A0E89BD}" dt="2022-07-24T23:41:45.778" v="205" actId="20577"/>
          <ac:spMkLst>
            <pc:docMk/>
            <pc:sldMk cId="2012620193" sldId="2147471101"/>
            <ac:spMk id="2" creationId="{58E21E70-BAC3-4D15-8CED-1436C4C061D6}"/>
          </ac:spMkLst>
        </pc:spChg>
        <pc:spChg chg="mod">
          <ac:chgData name="Daphne Chuah" userId="750c03d4-b9ac-4705-9aff-70c8b686d073" providerId="ADAL" clId="{980AD1F5-B4C2-40B4-8E7A-4E799A0E89BD}" dt="2022-07-24T23:41:54.906" v="208" actId="255"/>
          <ac:spMkLst>
            <pc:docMk/>
            <pc:sldMk cId="2012620193" sldId="2147471101"/>
            <ac:spMk id="4" creationId="{97A325EC-3DC5-476E-B15A-4E252D2567DB}"/>
          </ac:spMkLst>
        </pc:spChg>
        <pc:spChg chg="add mod">
          <ac:chgData name="Daphne Chuah" userId="750c03d4-b9ac-4705-9aff-70c8b686d073" providerId="ADAL" clId="{980AD1F5-B4C2-40B4-8E7A-4E799A0E89BD}" dt="2022-07-24T23:44:36.251" v="350" actId="20577"/>
          <ac:spMkLst>
            <pc:docMk/>
            <pc:sldMk cId="2012620193" sldId="2147471101"/>
            <ac:spMk id="25" creationId="{BEDC13B4-0466-A8D0-A91A-8F83557E9FD1}"/>
          </ac:spMkLst>
        </pc:spChg>
        <pc:spChg chg="add mod">
          <ac:chgData name="Daphne Chuah" userId="750c03d4-b9ac-4705-9aff-70c8b686d073" providerId="ADAL" clId="{980AD1F5-B4C2-40B4-8E7A-4E799A0E89BD}" dt="2022-07-24T23:42:54.499" v="219"/>
          <ac:spMkLst>
            <pc:docMk/>
            <pc:sldMk cId="2012620193" sldId="2147471101"/>
            <ac:spMk id="32" creationId="{13884F5A-B846-C9DF-E78F-3E4305EEC4DB}"/>
          </ac:spMkLst>
        </pc:spChg>
        <pc:spChg chg="del">
          <ac:chgData name="Daphne Chuah" userId="750c03d4-b9ac-4705-9aff-70c8b686d073" providerId="ADAL" clId="{980AD1F5-B4C2-40B4-8E7A-4E799A0E89BD}" dt="2022-07-24T23:41:27.571" v="190" actId="478"/>
          <ac:spMkLst>
            <pc:docMk/>
            <pc:sldMk cId="2012620193" sldId="2147471101"/>
            <ac:spMk id="44" creationId="{599C27DA-E431-7AA3-EFD5-DB9F395E1C71}"/>
          </ac:spMkLst>
        </pc:spChg>
        <pc:spChg chg="del">
          <ac:chgData name="Daphne Chuah" userId="750c03d4-b9ac-4705-9aff-70c8b686d073" providerId="ADAL" clId="{980AD1F5-B4C2-40B4-8E7A-4E799A0E89BD}" dt="2022-07-24T23:41:27.571" v="190" actId="478"/>
          <ac:spMkLst>
            <pc:docMk/>
            <pc:sldMk cId="2012620193" sldId="2147471101"/>
            <ac:spMk id="45" creationId="{8044F2EE-424F-C62F-C021-0FA07579ECBF}"/>
          </ac:spMkLst>
        </pc:spChg>
        <pc:spChg chg="del">
          <ac:chgData name="Daphne Chuah" userId="750c03d4-b9ac-4705-9aff-70c8b686d073" providerId="ADAL" clId="{980AD1F5-B4C2-40B4-8E7A-4E799A0E89BD}" dt="2022-07-24T23:41:27.571" v="190" actId="478"/>
          <ac:spMkLst>
            <pc:docMk/>
            <pc:sldMk cId="2012620193" sldId="2147471101"/>
            <ac:spMk id="46" creationId="{C6F24D4C-AEF2-DC6D-D8C0-AEDF44417476}"/>
          </ac:spMkLst>
        </pc:spChg>
        <pc:spChg chg="del">
          <ac:chgData name="Daphne Chuah" userId="750c03d4-b9ac-4705-9aff-70c8b686d073" providerId="ADAL" clId="{980AD1F5-B4C2-40B4-8E7A-4E799A0E89BD}" dt="2022-07-24T23:41:27.571" v="190" actId="478"/>
          <ac:spMkLst>
            <pc:docMk/>
            <pc:sldMk cId="2012620193" sldId="2147471101"/>
            <ac:spMk id="47" creationId="{7F6074DB-1460-12EE-4359-0D21C0EB1373}"/>
          </ac:spMkLst>
        </pc:spChg>
        <pc:spChg chg="del">
          <ac:chgData name="Daphne Chuah" userId="750c03d4-b9ac-4705-9aff-70c8b686d073" providerId="ADAL" clId="{980AD1F5-B4C2-40B4-8E7A-4E799A0E89BD}" dt="2022-07-24T23:41:27.571" v="190" actId="478"/>
          <ac:spMkLst>
            <pc:docMk/>
            <pc:sldMk cId="2012620193" sldId="2147471101"/>
            <ac:spMk id="52" creationId="{CAE301F5-DF13-8C9B-0531-E442A4650A7C}"/>
          </ac:spMkLst>
        </pc:spChg>
        <pc:spChg chg="del">
          <ac:chgData name="Daphne Chuah" userId="750c03d4-b9ac-4705-9aff-70c8b686d073" providerId="ADAL" clId="{980AD1F5-B4C2-40B4-8E7A-4E799A0E89BD}" dt="2022-07-24T23:41:27.571" v="190" actId="478"/>
          <ac:spMkLst>
            <pc:docMk/>
            <pc:sldMk cId="2012620193" sldId="2147471101"/>
            <ac:spMk id="53" creationId="{23C0693F-8033-1BB5-FA74-672CC0159D83}"/>
          </ac:spMkLst>
        </pc:spChg>
        <pc:spChg chg="del">
          <ac:chgData name="Daphne Chuah" userId="750c03d4-b9ac-4705-9aff-70c8b686d073" providerId="ADAL" clId="{980AD1F5-B4C2-40B4-8E7A-4E799A0E89BD}" dt="2022-07-24T23:41:27.571" v="190" actId="478"/>
          <ac:spMkLst>
            <pc:docMk/>
            <pc:sldMk cId="2012620193" sldId="2147471101"/>
            <ac:spMk id="54" creationId="{140B3D05-BCD0-C526-2E26-D73BE1154CB3}"/>
          </ac:spMkLst>
        </pc:spChg>
        <pc:spChg chg="del">
          <ac:chgData name="Daphne Chuah" userId="750c03d4-b9ac-4705-9aff-70c8b686d073" providerId="ADAL" clId="{980AD1F5-B4C2-40B4-8E7A-4E799A0E89BD}" dt="2022-07-24T23:41:27.571" v="190" actId="478"/>
          <ac:spMkLst>
            <pc:docMk/>
            <pc:sldMk cId="2012620193" sldId="2147471101"/>
            <ac:spMk id="55" creationId="{D1254CF3-50C0-5C8C-2359-6C29AF434FFA}"/>
          </ac:spMkLst>
        </pc:spChg>
        <pc:spChg chg="del">
          <ac:chgData name="Daphne Chuah" userId="750c03d4-b9ac-4705-9aff-70c8b686d073" providerId="ADAL" clId="{980AD1F5-B4C2-40B4-8E7A-4E799A0E89BD}" dt="2022-07-24T23:41:27.571" v="190" actId="478"/>
          <ac:spMkLst>
            <pc:docMk/>
            <pc:sldMk cId="2012620193" sldId="2147471101"/>
            <ac:spMk id="56" creationId="{6E6E7431-B78A-564B-86F9-5110EF28A6CC}"/>
          </ac:spMkLst>
        </pc:spChg>
        <pc:grpChg chg="del">
          <ac:chgData name="Daphne Chuah" userId="750c03d4-b9ac-4705-9aff-70c8b686d073" providerId="ADAL" clId="{980AD1F5-B4C2-40B4-8E7A-4E799A0E89BD}" dt="2022-07-24T23:41:27.571" v="190" actId="478"/>
          <ac:grpSpMkLst>
            <pc:docMk/>
            <pc:sldMk cId="2012620193" sldId="2147471101"/>
            <ac:grpSpMk id="48" creationId="{532C9DDE-6BDB-2EAA-7FDD-71301FB32921}"/>
          </ac:grpSpMkLst>
        </pc:grpChg>
        <pc:graphicFrameChg chg="add del mod">
          <ac:chgData name="Daphne Chuah" userId="750c03d4-b9ac-4705-9aff-70c8b686d073" providerId="ADAL" clId="{980AD1F5-B4C2-40B4-8E7A-4E799A0E89BD}" dt="2022-07-24T23:44:28.415" v="314" actId="21"/>
          <ac:graphicFrameMkLst>
            <pc:docMk/>
            <pc:sldMk cId="2012620193" sldId="2147471101"/>
            <ac:graphicFrameMk id="26" creationId="{CEE82452-13E6-0668-4FE4-BF3884F7C262}"/>
          </ac:graphicFrameMkLst>
        </pc:graphicFrameChg>
        <pc:graphicFrameChg chg="add mod">
          <ac:chgData name="Daphne Chuah" userId="750c03d4-b9ac-4705-9aff-70c8b686d073" providerId="ADAL" clId="{980AD1F5-B4C2-40B4-8E7A-4E799A0E89BD}" dt="2022-07-24T23:44:40.448" v="351"/>
          <ac:graphicFrameMkLst>
            <pc:docMk/>
            <pc:sldMk cId="2012620193" sldId="2147471101"/>
            <ac:graphicFrameMk id="33" creationId="{594E4EEA-A31A-908A-E6B7-A3ED03FE2474}"/>
          </ac:graphicFrameMkLst>
        </pc:graphicFrameChg>
        <pc:picChg chg="add mod">
          <ac:chgData name="Daphne Chuah" userId="750c03d4-b9ac-4705-9aff-70c8b686d073" providerId="ADAL" clId="{980AD1F5-B4C2-40B4-8E7A-4E799A0E89BD}" dt="2022-07-24T23:44:11.363" v="310" actId="1076"/>
          <ac:picMkLst>
            <pc:docMk/>
            <pc:sldMk cId="2012620193" sldId="2147471101"/>
            <ac:picMk id="27" creationId="{F5C27FF5-BBC2-F860-86D5-9EEAEF230E7D}"/>
          </ac:picMkLst>
        </pc:picChg>
        <pc:picChg chg="add mod">
          <ac:chgData name="Daphne Chuah" userId="750c03d4-b9ac-4705-9aff-70c8b686d073" providerId="ADAL" clId="{980AD1F5-B4C2-40B4-8E7A-4E799A0E89BD}" dt="2022-07-24T23:42:04.146" v="211"/>
          <ac:picMkLst>
            <pc:docMk/>
            <pc:sldMk cId="2012620193" sldId="2147471101"/>
            <ac:picMk id="28" creationId="{3FD01DB3-6C41-8D86-949E-0AC5349C13AD}"/>
          </ac:picMkLst>
        </pc:picChg>
        <pc:picChg chg="add mod">
          <ac:chgData name="Daphne Chuah" userId="750c03d4-b9ac-4705-9aff-70c8b686d073" providerId="ADAL" clId="{980AD1F5-B4C2-40B4-8E7A-4E799A0E89BD}" dt="2022-07-24T23:42:04.146" v="211"/>
          <ac:picMkLst>
            <pc:docMk/>
            <pc:sldMk cId="2012620193" sldId="2147471101"/>
            <ac:picMk id="29" creationId="{898330E2-617E-FFED-7774-3D8228A72C9D}"/>
          </ac:picMkLst>
        </pc:picChg>
        <pc:picChg chg="add mod">
          <ac:chgData name="Daphne Chuah" userId="750c03d4-b9ac-4705-9aff-70c8b686d073" providerId="ADAL" clId="{980AD1F5-B4C2-40B4-8E7A-4E799A0E89BD}" dt="2022-07-24T23:42:04.146" v="211"/>
          <ac:picMkLst>
            <pc:docMk/>
            <pc:sldMk cId="2012620193" sldId="2147471101"/>
            <ac:picMk id="30" creationId="{2229E167-4615-4F40-8D7E-2FA8ACDA92DD}"/>
          </ac:picMkLst>
        </pc:picChg>
        <pc:picChg chg="add mod">
          <ac:chgData name="Daphne Chuah" userId="750c03d4-b9ac-4705-9aff-70c8b686d073" providerId="ADAL" clId="{980AD1F5-B4C2-40B4-8E7A-4E799A0E89BD}" dt="2022-07-24T23:42:04.146" v="211"/>
          <ac:picMkLst>
            <pc:docMk/>
            <pc:sldMk cId="2012620193" sldId="2147471101"/>
            <ac:picMk id="31" creationId="{2067D7C5-52D0-CF20-8229-624B3679A5CB}"/>
          </ac:picMkLst>
        </pc:picChg>
        <pc:picChg chg="del">
          <ac:chgData name="Daphne Chuah" userId="750c03d4-b9ac-4705-9aff-70c8b686d073" providerId="ADAL" clId="{980AD1F5-B4C2-40B4-8E7A-4E799A0E89BD}" dt="2022-07-24T23:41:27.571" v="190" actId="478"/>
          <ac:picMkLst>
            <pc:docMk/>
            <pc:sldMk cId="2012620193" sldId="2147471101"/>
            <ac:picMk id="38" creationId="{B7EF5429-4EDD-1EF2-C4FD-D09425ED7FD2}"/>
          </ac:picMkLst>
        </pc:picChg>
        <pc:picChg chg="del">
          <ac:chgData name="Daphne Chuah" userId="750c03d4-b9ac-4705-9aff-70c8b686d073" providerId="ADAL" clId="{980AD1F5-B4C2-40B4-8E7A-4E799A0E89BD}" dt="2022-07-24T23:41:27.571" v="190" actId="478"/>
          <ac:picMkLst>
            <pc:docMk/>
            <pc:sldMk cId="2012620193" sldId="2147471101"/>
            <ac:picMk id="39" creationId="{D9C126D1-B9C9-2A61-CF1D-1FF704939A06}"/>
          </ac:picMkLst>
        </pc:picChg>
        <pc:picChg chg="del">
          <ac:chgData name="Daphne Chuah" userId="750c03d4-b9ac-4705-9aff-70c8b686d073" providerId="ADAL" clId="{980AD1F5-B4C2-40B4-8E7A-4E799A0E89BD}" dt="2022-07-24T23:41:27.571" v="190" actId="478"/>
          <ac:picMkLst>
            <pc:docMk/>
            <pc:sldMk cId="2012620193" sldId="2147471101"/>
            <ac:picMk id="40" creationId="{98F3C482-63E8-14D0-450C-FEDD6F5C5BB1}"/>
          </ac:picMkLst>
        </pc:picChg>
        <pc:picChg chg="del">
          <ac:chgData name="Daphne Chuah" userId="750c03d4-b9ac-4705-9aff-70c8b686d073" providerId="ADAL" clId="{980AD1F5-B4C2-40B4-8E7A-4E799A0E89BD}" dt="2022-07-24T23:41:27.571" v="190" actId="478"/>
          <ac:picMkLst>
            <pc:docMk/>
            <pc:sldMk cId="2012620193" sldId="2147471101"/>
            <ac:picMk id="41" creationId="{53CCC793-5B5B-B5E7-EDFF-416196C9B175}"/>
          </ac:picMkLst>
        </pc:picChg>
        <pc:picChg chg="del">
          <ac:chgData name="Daphne Chuah" userId="750c03d4-b9ac-4705-9aff-70c8b686d073" providerId="ADAL" clId="{980AD1F5-B4C2-40B4-8E7A-4E799A0E89BD}" dt="2022-07-24T23:41:27.571" v="190" actId="478"/>
          <ac:picMkLst>
            <pc:docMk/>
            <pc:sldMk cId="2012620193" sldId="2147471101"/>
            <ac:picMk id="42" creationId="{7AFB5555-A2C0-D74A-FF14-175E6E76AD4C}"/>
          </ac:picMkLst>
        </pc:picChg>
        <pc:picChg chg="del">
          <ac:chgData name="Daphne Chuah" userId="750c03d4-b9ac-4705-9aff-70c8b686d073" providerId="ADAL" clId="{980AD1F5-B4C2-40B4-8E7A-4E799A0E89BD}" dt="2022-07-24T23:41:27.571" v="190" actId="478"/>
          <ac:picMkLst>
            <pc:docMk/>
            <pc:sldMk cId="2012620193" sldId="2147471101"/>
            <ac:picMk id="43" creationId="{1DDE97B7-C89C-DCAD-CE81-76BDC2F0FBD6}"/>
          </ac:picMkLst>
        </pc:picChg>
      </pc:sldChg>
      <pc:sldChg chg="addSp delSp modSp add mod ord">
        <pc:chgData name="Daphne Chuah" userId="750c03d4-b9ac-4705-9aff-70c8b686d073" providerId="ADAL" clId="{980AD1F5-B4C2-40B4-8E7A-4E799A0E89BD}" dt="2022-07-25T08:41:25.212" v="919"/>
        <pc:sldMkLst>
          <pc:docMk/>
          <pc:sldMk cId="2260427958" sldId="2147471102"/>
        </pc:sldMkLst>
        <pc:spChg chg="mod">
          <ac:chgData name="Daphne Chuah" userId="750c03d4-b9ac-4705-9aff-70c8b686d073" providerId="ADAL" clId="{980AD1F5-B4C2-40B4-8E7A-4E799A0E89BD}" dt="2022-07-24T23:43:19.150" v="307" actId="20577"/>
          <ac:spMkLst>
            <pc:docMk/>
            <pc:sldMk cId="2260427958" sldId="2147471102"/>
            <ac:spMk id="2" creationId="{F2080078-CD58-7D4D-88C7-892D8855A0ED}"/>
          </ac:spMkLst>
        </pc:spChg>
        <pc:spChg chg="add mod">
          <ac:chgData name="Daphne Chuah" userId="750c03d4-b9ac-4705-9aff-70c8b686d073" providerId="ADAL" clId="{980AD1F5-B4C2-40B4-8E7A-4E799A0E89BD}" dt="2022-07-24T23:43:44.517" v="308"/>
          <ac:spMkLst>
            <pc:docMk/>
            <pc:sldMk cId="2260427958" sldId="2147471102"/>
            <ac:spMk id="12" creationId="{0FDAE73D-40C5-9D7B-473C-DAB35C013F3A}"/>
          </ac:spMkLst>
        </pc:spChg>
        <pc:spChg chg="add mod">
          <ac:chgData name="Daphne Chuah" userId="750c03d4-b9ac-4705-9aff-70c8b686d073" providerId="ADAL" clId="{980AD1F5-B4C2-40B4-8E7A-4E799A0E89BD}" dt="2022-07-24T23:43:44.517" v="308"/>
          <ac:spMkLst>
            <pc:docMk/>
            <pc:sldMk cId="2260427958" sldId="2147471102"/>
            <ac:spMk id="13" creationId="{CBBE2AAD-42B7-D538-5F15-C7E3F8B4BC40}"/>
          </ac:spMkLst>
        </pc:spChg>
        <pc:spChg chg="mod">
          <ac:chgData name="Daphne Chuah" userId="750c03d4-b9ac-4705-9aff-70c8b686d073" providerId="ADAL" clId="{980AD1F5-B4C2-40B4-8E7A-4E799A0E89BD}" dt="2022-07-24T23:43:44.517" v="308"/>
          <ac:spMkLst>
            <pc:docMk/>
            <pc:sldMk cId="2260427958" sldId="2147471102"/>
            <ac:spMk id="15" creationId="{5A16A4ED-C24A-9865-E866-C38E1D4B7ADF}"/>
          </ac:spMkLst>
        </pc:spChg>
        <pc:spChg chg="mod">
          <ac:chgData name="Daphne Chuah" userId="750c03d4-b9ac-4705-9aff-70c8b686d073" providerId="ADAL" clId="{980AD1F5-B4C2-40B4-8E7A-4E799A0E89BD}" dt="2022-07-24T23:43:44.517" v="308"/>
          <ac:spMkLst>
            <pc:docMk/>
            <pc:sldMk cId="2260427958" sldId="2147471102"/>
            <ac:spMk id="18" creationId="{39D75002-E48A-C203-0100-13A6D811FB59}"/>
          </ac:spMkLst>
        </pc:spChg>
        <pc:spChg chg="mod">
          <ac:chgData name="Daphne Chuah" userId="750c03d4-b9ac-4705-9aff-70c8b686d073" providerId="ADAL" clId="{980AD1F5-B4C2-40B4-8E7A-4E799A0E89BD}" dt="2022-07-24T23:43:44.517" v="308"/>
          <ac:spMkLst>
            <pc:docMk/>
            <pc:sldMk cId="2260427958" sldId="2147471102"/>
            <ac:spMk id="20" creationId="{36E4B906-660D-E6DF-3C96-388614208AE5}"/>
          </ac:spMkLst>
        </pc:spChg>
        <pc:spChg chg="mod">
          <ac:chgData name="Daphne Chuah" userId="750c03d4-b9ac-4705-9aff-70c8b686d073" providerId="ADAL" clId="{980AD1F5-B4C2-40B4-8E7A-4E799A0E89BD}" dt="2022-07-24T23:43:44.517" v="308"/>
          <ac:spMkLst>
            <pc:docMk/>
            <pc:sldMk cId="2260427958" sldId="2147471102"/>
            <ac:spMk id="21" creationId="{3E94711A-6FE1-6ABD-0DBF-9DBD0ABC6BFC}"/>
          </ac:spMkLst>
        </pc:spChg>
        <pc:spChg chg="mod">
          <ac:chgData name="Daphne Chuah" userId="750c03d4-b9ac-4705-9aff-70c8b686d073" providerId="ADAL" clId="{980AD1F5-B4C2-40B4-8E7A-4E799A0E89BD}" dt="2022-07-24T23:43:44.517" v="308"/>
          <ac:spMkLst>
            <pc:docMk/>
            <pc:sldMk cId="2260427958" sldId="2147471102"/>
            <ac:spMk id="22" creationId="{14D114A8-D8D7-0D54-9F5F-240B2CE9E160}"/>
          </ac:spMkLst>
        </pc:spChg>
        <pc:spChg chg="add mod">
          <ac:chgData name="Daphne Chuah" userId="750c03d4-b9ac-4705-9aff-70c8b686d073" providerId="ADAL" clId="{980AD1F5-B4C2-40B4-8E7A-4E799A0E89BD}" dt="2022-07-24T23:43:44.517" v="308"/>
          <ac:spMkLst>
            <pc:docMk/>
            <pc:sldMk cId="2260427958" sldId="2147471102"/>
            <ac:spMk id="23" creationId="{A2D2988D-3AB8-1473-9F69-94D3A7D71184}"/>
          </ac:spMkLst>
        </pc:spChg>
        <pc:spChg chg="add mod">
          <ac:chgData name="Daphne Chuah" userId="750c03d4-b9ac-4705-9aff-70c8b686d073" providerId="ADAL" clId="{980AD1F5-B4C2-40B4-8E7A-4E799A0E89BD}" dt="2022-07-24T23:43:44.517" v="308"/>
          <ac:spMkLst>
            <pc:docMk/>
            <pc:sldMk cId="2260427958" sldId="2147471102"/>
            <ac:spMk id="24" creationId="{2338651E-A6B2-9758-9C50-5C4FEF22E3A3}"/>
          </ac:spMkLst>
        </pc:spChg>
        <pc:spChg chg="del">
          <ac:chgData name="Daphne Chuah" userId="750c03d4-b9ac-4705-9aff-70c8b686d073" providerId="ADAL" clId="{980AD1F5-B4C2-40B4-8E7A-4E799A0E89BD}" dt="2022-07-24T23:43:01.115" v="220" actId="478"/>
          <ac:spMkLst>
            <pc:docMk/>
            <pc:sldMk cId="2260427958" sldId="2147471102"/>
            <ac:spMk id="29" creationId="{956421DE-3F96-3038-59A9-2EE823DBE6B7}"/>
          </ac:spMkLst>
        </pc:spChg>
        <pc:spChg chg="del">
          <ac:chgData name="Daphne Chuah" userId="750c03d4-b9ac-4705-9aff-70c8b686d073" providerId="ADAL" clId="{980AD1F5-B4C2-40B4-8E7A-4E799A0E89BD}" dt="2022-07-24T23:43:01.115" v="220" actId="478"/>
          <ac:spMkLst>
            <pc:docMk/>
            <pc:sldMk cId="2260427958" sldId="2147471102"/>
            <ac:spMk id="31" creationId="{6A65216D-DBBB-C6A3-8396-6AE9579DEE03}"/>
          </ac:spMkLst>
        </pc:spChg>
        <pc:spChg chg="add mod">
          <ac:chgData name="Daphne Chuah" userId="750c03d4-b9ac-4705-9aff-70c8b686d073" providerId="ADAL" clId="{980AD1F5-B4C2-40B4-8E7A-4E799A0E89BD}" dt="2022-07-24T23:43:44.517" v="308"/>
          <ac:spMkLst>
            <pc:docMk/>
            <pc:sldMk cId="2260427958" sldId="2147471102"/>
            <ac:spMk id="32" creationId="{481E656E-7061-1A0F-C770-914FDB1EF40D}"/>
          </ac:spMkLst>
        </pc:spChg>
        <pc:spChg chg="add mod">
          <ac:chgData name="Daphne Chuah" userId="750c03d4-b9ac-4705-9aff-70c8b686d073" providerId="ADAL" clId="{980AD1F5-B4C2-40B4-8E7A-4E799A0E89BD}" dt="2022-07-24T23:43:44.517" v="308"/>
          <ac:spMkLst>
            <pc:docMk/>
            <pc:sldMk cId="2260427958" sldId="2147471102"/>
            <ac:spMk id="33" creationId="{AED3DB6D-BF93-3FBC-F5CD-FB68FFD7AF57}"/>
          </ac:spMkLst>
        </pc:spChg>
        <pc:spChg chg="add mod">
          <ac:chgData name="Daphne Chuah" userId="750c03d4-b9ac-4705-9aff-70c8b686d073" providerId="ADAL" clId="{980AD1F5-B4C2-40B4-8E7A-4E799A0E89BD}" dt="2022-07-24T23:43:44.517" v="308"/>
          <ac:spMkLst>
            <pc:docMk/>
            <pc:sldMk cId="2260427958" sldId="2147471102"/>
            <ac:spMk id="34" creationId="{8C26802B-07AB-4596-0367-170373FBD8C2}"/>
          </ac:spMkLst>
        </pc:spChg>
        <pc:spChg chg="add mod">
          <ac:chgData name="Daphne Chuah" userId="750c03d4-b9ac-4705-9aff-70c8b686d073" providerId="ADAL" clId="{980AD1F5-B4C2-40B4-8E7A-4E799A0E89BD}" dt="2022-07-24T23:43:44.517" v="308"/>
          <ac:spMkLst>
            <pc:docMk/>
            <pc:sldMk cId="2260427958" sldId="2147471102"/>
            <ac:spMk id="35" creationId="{65DE91F2-988E-7111-4B4A-2EC5AA008FD4}"/>
          </ac:spMkLst>
        </pc:spChg>
        <pc:grpChg chg="add mod">
          <ac:chgData name="Daphne Chuah" userId="750c03d4-b9ac-4705-9aff-70c8b686d073" providerId="ADAL" clId="{980AD1F5-B4C2-40B4-8E7A-4E799A0E89BD}" dt="2022-07-24T23:43:44.517" v="308"/>
          <ac:grpSpMkLst>
            <pc:docMk/>
            <pc:sldMk cId="2260427958" sldId="2147471102"/>
            <ac:grpSpMk id="14" creationId="{6297F33E-C0CD-45A6-21B0-BE8B42930FA5}"/>
          </ac:grpSpMkLst>
        </pc:grpChg>
        <pc:grpChg chg="add mod">
          <ac:chgData name="Daphne Chuah" userId="750c03d4-b9ac-4705-9aff-70c8b686d073" providerId="ADAL" clId="{980AD1F5-B4C2-40B4-8E7A-4E799A0E89BD}" dt="2022-07-24T23:43:44.517" v="308"/>
          <ac:grpSpMkLst>
            <pc:docMk/>
            <pc:sldMk cId="2260427958" sldId="2147471102"/>
            <ac:grpSpMk id="17" creationId="{C2849D03-3E37-30DA-17FF-B6BB3AD93F41}"/>
          </ac:grpSpMkLst>
        </pc:grpChg>
        <pc:grpChg chg="mod">
          <ac:chgData name="Daphne Chuah" userId="750c03d4-b9ac-4705-9aff-70c8b686d073" providerId="ADAL" clId="{980AD1F5-B4C2-40B4-8E7A-4E799A0E89BD}" dt="2022-07-24T23:43:44.517" v="308"/>
          <ac:grpSpMkLst>
            <pc:docMk/>
            <pc:sldMk cId="2260427958" sldId="2147471102"/>
            <ac:grpSpMk id="19" creationId="{169E7BE9-9D67-0760-88D1-882E49D1EE4A}"/>
          </ac:grpSpMkLst>
        </pc:grpChg>
        <pc:graphicFrameChg chg="del">
          <ac:chgData name="Daphne Chuah" userId="750c03d4-b9ac-4705-9aff-70c8b686d073" providerId="ADAL" clId="{980AD1F5-B4C2-40B4-8E7A-4E799A0E89BD}" dt="2022-07-24T23:43:01.115" v="220" actId="478"/>
          <ac:graphicFrameMkLst>
            <pc:docMk/>
            <pc:sldMk cId="2260427958" sldId="2147471102"/>
            <ac:graphicFrameMk id="4" creationId="{EBAB4F1F-7204-5D09-B437-A536D600F138}"/>
          </ac:graphicFrameMkLst>
        </pc:graphicFrameChg>
        <pc:picChg chg="mod">
          <ac:chgData name="Daphne Chuah" userId="750c03d4-b9ac-4705-9aff-70c8b686d073" providerId="ADAL" clId="{980AD1F5-B4C2-40B4-8E7A-4E799A0E89BD}" dt="2022-07-24T23:43:44.517" v="308"/>
          <ac:picMkLst>
            <pc:docMk/>
            <pc:sldMk cId="2260427958" sldId="2147471102"/>
            <ac:picMk id="16" creationId="{DF830C74-D3A6-3626-BC2A-BC4C25F5B894}"/>
          </ac:picMkLst>
        </pc:picChg>
        <pc:picChg chg="add mod">
          <ac:chgData name="Daphne Chuah" userId="750c03d4-b9ac-4705-9aff-70c8b686d073" providerId="ADAL" clId="{980AD1F5-B4C2-40B4-8E7A-4E799A0E89BD}" dt="2022-07-24T23:43:44.517" v="308"/>
          <ac:picMkLst>
            <pc:docMk/>
            <pc:sldMk cId="2260427958" sldId="2147471102"/>
            <ac:picMk id="25" creationId="{D1CA3BF8-0F31-F58F-BA6F-662798DC8AFC}"/>
          </ac:picMkLst>
        </pc:picChg>
        <pc:picChg chg="add mod">
          <ac:chgData name="Daphne Chuah" userId="750c03d4-b9ac-4705-9aff-70c8b686d073" providerId="ADAL" clId="{980AD1F5-B4C2-40B4-8E7A-4E799A0E89BD}" dt="2022-07-24T23:43:44.517" v="308"/>
          <ac:picMkLst>
            <pc:docMk/>
            <pc:sldMk cId="2260427958" sldId="2147471102"/>
            <ac:picMk id="26" creationId="{12F74960-1225-F9FE-F521-4897E9A6823A}"/>
          </ac:picMkLst>
        </pc:picChg>
        <pc:picChg chg="add mod">
          <ac:chgData name="Daphne Chuah" userId="750c03d4-b9ac-4705-9aff-70c8b686d073" providerId="ADAL" clId="{980AD1F5-B4C2-40B4-8E7A-4E799A0E89BD}" dt="2022-07-24T23:43:44.517" v="308"/>
          <ac:picMkLst>
            <pc:docMk/>
            <pc:sldMk cId="2260427958" sldId="2147471102"/>
            <ac:picMk id="27" creationId="{6D8E5B7A-A992-77B5-AD0D-2A93C059CB9E}"/>
          </ac:picMkLst>
        </pc:picChg>
        <pc:picChg chg="add mod">
          <ac:chgData name="Daphne Chuah" userId="750c03d4-b9ac-4705-9aff-70c8b686d073" providerId="ADAL" clId="{980AD1F5-B4C2-40B4-8E7A-4E799A0E89BD}" dt="2022-07-24T23:43:44.517" v="308"/>
          <ac:picMkLst>
            <pc:docMk/>
            <pc:sldMk cId="2260427958" sldId="2147471102"/>
            <ac:picMk id="28" creationId="{395ACCDD-5428-FAD5-7713-DB227DF36ED0}"/>
          </ac:picMkLst>
        </pc:picChg>
        <pc:picChg chg="add mod">
          <ac:chgData name="Daphne Chuah" userId="750c03d4-b9ac-4705-9aff-70c8b686d073" providerId="ADAL" clId="{980AD1F5-B4C2-40B4-8E7A-4E799A0E89BD}" dt="2022-07-24T23:43:44.517" v="308"/>
          <ac:picMkLst>
            <pc:docMk/>
            <pc:sldMk cId="2260427958" sldId="2147471102"/>
            <ac:picMk id="30" creationId="{E2169464-8786-E41B-6EC6-D489933D9C04}"/>
          </ac:picMkLst>
        </pc:picChg>
        <pc:picChg chg="del">
          <ac:chgData name="Daphne Chuah" userId="750c03d4-b9ac-4705-9aff-70c8b686d073" providerId="ADAL" clId="{980AD1F5-B4C2-40B4-8E7A-4E799A0E89BD}" dt="2022-07-24T23:43:01.115" v="220" actId="478"/>
          <ac:picMkLst>
            <pc:docMk/>
            <pc:sldMk cId="2260427958" sldId="2147471102"/>
            <ac:picMk id="1026" creationId="{51DE2BF0-64A7-FC2C-05F9-37E1F5A5A55F}"/>
          </ac:picMkLst>
        </pc:picChg>
        <pc:picChg chg="del">
          <ac:chgData name="Daphne Chuah" userId="750c03d4-b9ac-4705-9aff-70c8b686d073" providerId="ADAL" clId="{980AD1F5-B4C2-40B4-8E7A-4E799A0E89BD}" dt="2022-07-24T23:43:01.115" v="220" actId="478"/>
          <ac:picMkLst>
            <pc:docMk/>
            <pc:sldMk cId="2260427958" sldId="2147471102"/>
            <ac:picMk id="1030" creationId="{F06DDA81-F50A-D7C6-8C82-094C719F347C}"/>
          </ac:picMkLst>
        </pc:picChg>
        <pc:picChg chg="del">
          <ac:chgData name="Daphne Chuah" userId="750c03d4-b9ac-4705-9aff-70c8b686d073" providerId="ADAL" clId="{980AD1F5-B4C2-40B4-8E7A-4E799A0E89BD}" dt="2022-07-24T23:43:01.115" v="220" actId="478"/>
          <ac:picMkLst>
            <pc:docMk/>
            <pc:sldMk cId="2260427958" sldId="2147471102"/>
            <ac:picMk id="1032" creationId="{1DAAB32A-75B3-FD36-95DB-69F2AC57E089}"/>
          </ac:picMkLst>
        </pc:picChg>
        <pc:picChg chg="del">
          <ac:chgData name="Daphne Chuah" userId="750c03d4-b9ac-4705-9aff-70c8b686d073" providerId="ADAL" clId="{980AD1F5-B4C2-40B4-8E7A-4E799A0E89BD}" dt="2022-07-24T23:43:01.115" v="220" actId="478"/>
          <ac:picMkLst>
            <pc:docMk/>
            <pc:sldMk cId="2260427958" sldId="2147471102"/>
            <ac:picMk id="1038" creationId="{4A55A93D-1109-988C-5564-1A871C065CB0}"/>
          </ac:picMkLst>
        </pc:picChg>
        <pc:cxnChg chg="add mod">
          <ac:chgData name="Daphne Chuah" userId="750c03d4-b9ac-4705-9aff-70c8b686d073" providerId="ADAL" clId="{980AD1F5-B4C2-40B4-8E7A-4E799A0E89BD}" dt="2022-07-24T23:43:44.517" v="308"/>
          <ac:cxnSpMkLst>
            <pc:docMk/>
            <pc:sldMk cId="2260427958" sldId="2147471102"/>
            <ac:cxnSpMk id="36" creationId="{2C9C0FE0-9F19-B684-FBCC-84E8E52C05BB}"/>
          </ac:cxnSpMkLst>
        </pc:cxnChg>
      </pc:sldChg>
      <pc:sldChg chg="modSp add mod ord">
        <pc:chgData name="Daphne Chuah" userId="750c03d4-b9ac-4705-9aff-70c8b686d073" providerId="ADAL" clId="{980AD1F5-B4C2-40B4-8E7A-4E799A0E89BD}" dt="2022-07-25T09:07:15.412" v="1076" actId="20577"/>
        <pc:sldMkLst>
          <pc:docMk/>
          <pc:sldMk cId="1117537018" sldId="2147471106"/>
        </pc:sldMkLst>
        <pc:spChg chg="mod">
          <ac:chgData name="Daphne Chuah" userId="750c03d4-b9ac-4705-9aff-70c8b686d073" providerId="ADAL" clId="{980AD1F5-B4C2-40B4-8E7A-4E799A0E89BD}" dt="2022-07-25T09:07:15.412" v="1076" actId="20577"/>
          <ac:spMkLst>
            <pc:docMk/>
            <pc:sldMk cId="1117537018" sldId="2147471106"/>
            <ac:spMk id="2" creationId="{3B02A60D-2E36-9FD1-54C6-D0F2788CB80C}"/>
          </ac:spMkLst>
        </pc:spChg>
      </pc:sldChg>
      <pc:sldChg chg="addSp delSp modSp add mod delCm">
        <pc:chgData name="Daphne Chuah" userId="750c03d4-b9ac-4705-9aff-70c8b686d073" providerId="ADAL" clId="{980AD1F5-B4C2-40B4-8E7A-4E799A0E89BD}" dt="2022-07-25T09:06:04.436" v="1062" actId="255"/>
        <pc:sldMkLst>
          <pc:docMk/>
          <pc:sldMk cId="2029180088" sldId="2147471107"/>
        </pc:sldMkLst>
        <pc:spChg chg="mod">
          <ac:chgData name="Daphne Chuah" userId="750c03d4-b9ac-4705-9aff-70c8b686d073" providerId="ADAL" clId="{980AD1F5-B4C2-40B4-8E7A-4E799A0E89BD}" dt="2022-07-25T08:17:23.305" v="472"/>
          <ac:spMkLst>
            <pc:docMk/>
            <pc:sldMk cId="2029180088" sldId="2147471107"/>
            <ac:spMk id="2" creationId="{58E21E70-BAC3-4D15-8CED-1436C4C061D6}"/>
          </ac:spMkLst>
        </pc:spChg>
        <pc:spChg chg="del">
          <ac:chgData name="Daphne Chuah" userId="750c03d4-b9ac-4705-9aff-70c8b686d073" providerId="ADAL" clId="{980AD1F5-B4C2-40B4-8E7A-4E799A0E89BD}" dt="2022-07-25T08:19:24.692" v="489" actId="478"/>
          <ac:spMkLst>
            <pc:docMk/>
            <pc:sldMk cId="2029180088" sldId="2147471107"/>
            <ac:spMk id="3" creationId="{A4396510-7024-4C3E-B95A-DB58D640BD88}"/>
          </ac:spMkLst>
        </pc:spChg>
        <pc:spChg chg="mod">
          <ac:chgData name="Daphne Chuah" userId="750c03d4-b9ac-4705-9aff-70c8b686d073" providerId="ADAL" clId="{980AD1F5-B4C2-40B4-8E7A-4E799A0E89BD}" dt="2022-07-25T08:27:57.633" v="667" actId="1076"/>
          <ac:spMkLst>
            <pc:docMk/>
            <pc:sldMk cId="2029180088" sldId="2147471107"/>
            <ac:spMk id="4" creationId="{97A325EC-3DC5-476E-B15A-4E252D2567DB}"/>
          </ac:spMkLst>
        </pc:spChg>
        <pc:spChg chg="del">
          <ac:chgData name="Daphne Chuah" userId="750c03d4-b9ac-4705-9aff-70c8b686d073" providerId="ADAL" clId="{980AD1F5-B4C2-40B4-8E7A-4E799A0E89BD}" dt="2022-07-25T08:17:02.906" v="467" actId="478"/>
          <ac:spMkLst>
            <pc:docMk/>
            <pc:sldMk cId="2029180088" sldId="2147471107"/>
            <ac:spMk id="14" creationId="{6080EB36-6CBD-40C1-A4BE-264AF684ECD7}"/>
          </ac:spMkLst>
        </pc:spChg>
        <pc:spChg chg="del">
          <ac:chgData name="Daphne Chuah" userId="750c03d4-b9ac-4705-9aff-70c8b686d073" providerId="ADAL" clId="{980AD1F5-B4C2-40B4-8E7A-4E799A0E89BD}" dt="2022-07-25T08:17:02.906" v="467" actId="478"/>
          <ac:spMkLst>
            <pc:docMk/>
            <pc:sldMk cId="2029180088" sldId="2147471107"/>
            <ac:spMk id="15" creationId="{B32F0B7B-ECCC-4CA1-8DC7-3142FC19ACF9}"/>
          </ac:spMkLst>
        </pc:spChg>
        <pc:spChg chg="del">
          <ac:chgData name="Daphne Chuah" userId="750c03d4-b9ac-4705-9aff-70c8b686d073" providerId="ADAL" clId="{980AD1F5-B4C2-40B4-8E7A-4E799A0E89BD}" dt="2022-07-25T08:17:02.906" v="467" actId="478"/>
          <ac:spMkLst>
            <pc:docMk/>
            <pc:sldMk cId="2029180088" sldId="2147471107"/>
            <ac:spMk id="16" creationId="{ECB50BE8-A04B-417D-9B77-87C67CFC3F83}"/>
          </ac:spMkLst>
        </pc:spChg>
        <pc:spChg chg="del">
          <ac:chgData name="Daphne Chuah" userId="750c03d4-b9ac-4705-9aff-70c8b686d073" providerId="ADAL" clId="{980AD1F5-B4C2-40B4-8E7A-4E799A0E89BD}" dt="2022-07-25T08:17:02.906" v="467" actId="478"/>
          <ac:spMkLst>
            <pc:docMk/>
            <pc:sldMk cId="2029180088" sldId="2147471107"/>
            <ac:spMk id="17" creationId="{561680C6-EBC8-48BC-8A61-54472FE1E6E9}"/>
          </ac:spMkLst>
        </pc:spChg>
        <pc:spChg chg="del">
          <ac:chgData name="Daphne Chuah" userId="750c03d4-b9ac-4705-9aff-70c8b686d073" providerId="ADAL" clId="{980AD1F5-B4C2-40B4-8E7A-4E799A0E89BD}" dt="2022-07-25T08:17:02.906" v="467" actId="478"/>
          <ac:spMkLst>
            <pc:docMk/>
            <pc:sldMk cId="2029180088" sldId="2147471107"/>
            <ac:spMk id="25" creationId="{62C68755-243C-496E-B3C4-41E34F8CA380}"/>
          </ac:spMkLst>
        </pc:spChg>
        <pc:spChg chg="del">
          <ac:chgData name="Daphne Chuah" userId="750c03d4-b9ac-4705-9aff-70c8b686d073" providerId="ADAL" clId="{980AD1F5-B4C2-40B4-8E7A-4E799A0E89BD}" dt="2022-07-25T08:17:02.906" v="467" actId="478"/>
          <ac:spMkLst>
            <pc:docMk/>
            <pc:sldMk cId="2029180088" sldId="2147471107"/>
            <ac:spMk id="26" creationId="{98050498-6303-4B27-9435-CC6A378C4126}"/>
          </ac:spMkLst>
        </pc:spChg>
        <pc:spChg chg="del">
          <ac:chgData name="Daphne Chuah" userId="750c03d4-b9ac-4705-9aff-70c8b686d073" providerId="ADAL" clId="{980AD1F5-B4C2-40B4-8E7A-4E799A0E89BD}" dt="2022-07-25T08:17:02.906" v="467" actId="478"/>
          <ac:spMkLst>
            <pc:docMk/>
            <pc:sldMk cId="2029180088" sldId="2147471107"/>
            <ac:spMk id="27" creationId="{0A1CF55E-ED37-49BA-B33A-7116DDA15149}"/>
          </ac:spMkLst>
        </pc:spChg>
        <pc:spChg chg="del">
          <ac:chgData name="Daphne Chuah" userId="750c03d4-b9ac-4705-9aff-70c8b686d073" providerId="ADAL" clId="{980AD1F5-B4C2-40B4-8E7A-4E799A0E89BD}" dt="2022-07-25T08:17:02.906" v="467" actId="478"/>
          <ac:spMkLst>
            <pc:docMk/>
            <pc:sldMk cId="2029180088" sldId="2147471107"/>
            <ac:spMk id="29" creationId="{42A3045A-C34F-4B54-932A-ECFA9669899E}"/>
          </ac:spMkLst>
        </pc:spChg>
        <pc:spChg chg="del">
          <ac:chgData name="Daphne Chuah" userId="750c03d4-b9ac-4705-9aff-70c8b686d073" providerId="ADAL" clId="{980AD1F5-B4C2-40B4-8E7A-4E799A0E89BD}" dt="2022-07-25T08:17:02.906" v="467" actId="478"/>
          <ac:spMkLst>
            <pc:docMk/>
            <pc:sldMk cId="2029180088" sldId="2147471107"/>
            <ac:spMk id="31" creationId="{3D56E5B0-9236-4C7E-8B48-BA42C3506C63}"/>
          </ac:spMkLst>
        </pc:spChg>
        <pc:spChg chg="del">
          <ac:chgData name="Daphne Chuah" userId="750c03d4-b9ac-4705-9aff-70c8b686d073" providerId="ADAL" clId="{980AD1F5-B4C2-40B4-8E7A-4E799A0E89BD}" dt="2022-07-25T08:17:02.906" v="467" actId="478"/>
          <ac:spMkLst>
            <pc:docMk/>
            <pc:sldMk cId="2029180088" sldId="2147471107"/>
            <ac:spMk id="32" creationId="{34DB7D20-7485-4DA4-8FE1-4079724A706A}"/>
          </ac:spMkLst>
        </pc:spChg>
        <pc:spChg chg="del">
          <ac:chgData name="Daphne Chuah" userId="750c03d4-b9ac-4705-9aff-70c8b686d073" providerId="ADAL" clId="{980AD1F5-B4C2-40B4-8E7A-4E799A0E89BD}" dt="2022-07-25T08:17:02.906" v="467" actId="478"/>
          <ac:spMkLst>
            <pc:docMk/>
            <pc:sldMk cId="2029180088" sldId="2147471107"/>
            <ac:spMk id="33" creationId="{F39B6605-DE0B-4AC8-999A-E02638D019BF}"/>
          </ac:spMkLst>
        </pc:spChg>
        <pc:spChg chg="add del mod">
          <ac:chgData name="Daphne Chuah" userId="750c03d4-b9ac-4705-9aff-70c8b686d073" providerId="ADAL" clId="{980AD1F5-B4C2-40B4-8E7A-4E799A0E89BD}" dt="2022-07-25T08:17:50.501" v="478"/>
          <ac:spMkLst>
            <pc:docMk/>
            <pc:sldMk cId="2029180088" sldId="2147471107"/>
            <ac:spMk id="38" creationId="{DD69BC65-16B0-A908-E33C-9DBB770D6FBC}"/>
          </ac:spMkLst>
        </pc:spChg>
        <pc:spChg chg="mod">
          <ac:chgData name="Daphne Chuah" userId="750c03d4-b9ac-4705-9aff-70c8b686d073" providerId="ADAL" clId="{980AD1F5-B4C2-40B4-8E7A-4E799A0E89BD}" dt="2022-07-25T08:17:42.302" v="477"/>
          <ac:spMkLst>
            <pc:docMk/>
            <pc:sldMk cId="2029180088" sldId="2147471107"/>
            <ac:spMk id="41" creationId="{6B2C0EE1-29C2-33B3-35C3-A6688DE8E08C}"/>
          </ac:spMkLst>
        </pc:spChg>
        <pc:spChg chg="add del mod">
          <ac:chgData name="Daphne Chuah" userId="750c03d4-b9ac-4705-9aff-70c8b686d073" providerId="ADAL" clId="{980AD1F5-B4C2-40B4-8E7A-4E799A0E89BD}" dt="2022-07-25T08:17:50.501" v="478"/>
          <ac:spMkLst>
            <pc:docMk/>
            <pc:sldMk cId="2029180088" sldId="2147471107"/>
            <ac:spMk id="48" creationId="{85DAB249-EE7C-51F5-743A-DEEA0FE3EEC6}"/>
          </ac:spMkLst>
        </pc:spChg>
        <pc:spChg chg="add del mod">
          <ac:chgData name="Daphne Chuah" userId="750c03d4-b9ac-4705-9aff-70c8b686d073" providerId="ADAL" clId="{980AD1F5-B4C2-40B4-8E7A-4E799A0E89BD}" dt="2022-07-25T08:17:50.501" v="478"/>
          <ac:spMkLst>
            <pc:docMk/>
            <pc:sldMk cId="2029180088" sldId="2147471107"/>
            <ac:spMk id="49" creationId="{8C027849-F2BF-2D5E-1DA5-AE4185F9A570}"/>
          </ac:spMkLst>
        </pc:spChg>
        <pc:spChg chg="add del mod">
          <ac:chgData name="Daphne Chuah" userId="750c03d4-b9ac-4705-9aff-70c8b686d073" providerId="ADAL" clId="{980AD1F5-B4C2-40B4-8E7A-4E799A0E89BD}" dt="2022-07-25T08:17:50.501" v="478"/>
          <ac:spMkLst>
            <pc:docMk/>
            <pc:sldMk cId="2029180088" sldId="2147471107"/>
            <ac:spMk id="53" creationId="{79DE7600-A798-9D7B-C916-FBA9AC9E0468}"/>
          </ac:spMkLst>
        </pc:spChg>
        <pc:spChg chg="add del mod">
          <ac:chgData name="Daphne Chuah" userId="750c03d4-b9ac-4705-9aff-70c8b686d073" providerId="ADAL" clId="{980AD1F5-B4C2-40B4-8E7A-4E799A0E89BD}" dt="2022-07-25T08:17:50.501" v="478"/>
          <ac:spMkLst>
            <pc:docMk/>
            <pc:sldMk cId="2029180088" sldId="2147471107"/>
            <ac:spMk id="54" creationId="{24EEAAF6-F8EE-D12F-C54F-B2CB5CE1907F}"/>
          </ac:spMkLst>
        </pc:spChg>
        <pc:spChg chg="add del mod">
          <ac:chgData name="Daphne Chuah" userId="750c03d4-b9ac-4705-9aff-70c8b686d073" providerId="ADAL" clId="{980AD1F5-B4C2-40B4-8E7A-4E799A0E89BD}" dt="2022-07-25T08:17:50.501" v="478"/>
          <ac:spMkLst>
            <pc:docMk/>
            <pc:sldMk cId="2029180088" sldId="2147471107"/>
            <ac:spMk id="55" creationId="{5FF5C741-3E2D-8C02-EE68-E999F6DB2DDB}"/>
          </ac:spMkLst>
        </pc:spChg>
        <pc:spChg chg="add del mod">
          <ac:chgData name="Daphne Chuah" userId="750c03d4-b9ac-4705-9aff-70c8b686d073" providerId="ADAL" clId="{980AD1F5-B4C2-40B4-8E7A-4E799A0E89BD}" dt="2022-07-25T08:17:50.501" v="478"/>
          <ac:spMkLst>
            <pc:docMk/>
            <pc:sldMk cId="2029180088" sldId="2147471107"/>
            <ac:spMk id="57" creationId="{431020D7-B42A-B683-9CEE-803DC2C3B38E}"/>
          </ac:spMkLst>
        </pc:spChg>
        <pc:spChg chg="add del mod">
          <ac:chgData name="Daphne Chuah" userId="750c03d4-b9ac-4705-9aff-70c8b686d073" providerId="ADAL" clId="{980AD1F5-B4C2-40B4-8E7A-4E799A0E89BD}" dt="2022-07-25T08:17:50.501" v="478"/>
          <ac:spMkLst>
            <pc:docMk/>
            <pc:sldMk cId="2029180088" sldId="2147471107"/>
            <ac:spMk id="59" creationId="{7956B64D-00E6-16D1-6C90-C7A0AE8B9344}"/>
          </ac:spMkLst>
        </pc:spChg>
        <pc:spChg chg="add del mod">
          <ac:chgData name="Daphne Chuah" userId="750c03d4-b9ac-4705-9aff-70c8b686d073" providerId="ADAL" clId="{980AD1F5-B4C2-40B4-8E7A-4E799A0E89BD}" dt="2022-07-25T08:17:50.501" v="478"/>
          <ac:spMkLst>
            <pc:docMk/>
            <pc:sldMk cId="2029180088" sldId="2147471107"/>
            <ac:spMk id="60" creationId="{54EAF1D8-7510-20E3-6C9B-BEE50D9BFFED}"/>
          </ac:spMkLst>
        </pc:spChg>
        <pc:spChg chg="add del mod">
          <ac:chgData name="Daphne Chuah" userId="750c03d4-b9ac-4705-9aff-70c8b686d073" providerId="ADAL" clId="{980AD1F5-B4C2-40B4-8E7A-4E799A0E89BD}" dt="2022-07-25T08:17:50.501" v="478"/>
          <ac:spMkLst>
            <pc:docMk/>
            <pc:sldMk cId="2029180088" sldId="2147471107"/>
            <ac:spMk id="61" creationId="{1E78E11C-6509-3347-90E2-D7ED5CAB2469}"/>
          </ac:spMkLst>
        </pc:spChg>
        <pc:spChg chg="add del mod">
          <ac:chgData name="Daphne Chuah" userId="750c03d4-b9ac-4705-9aff-70c8b686d073" providerId="ADAL" clId="{980AD1F5-B4C2-40B4-8E7A-4E799A0E89BD}" dt="2022-07-25T08:17:50.501" v="478"/>
          <ac:spMkLst>
            <pc:docMk/>
            <pc:sldMk cId="2029180088" sldId="2147471107"/>
            <ac:spMk id="62" creationId="{FB8A46EE-FBFD-2400-7F42-DD11D5CFD242}"/>
          </ac:spMkLst>
        </pc:spChg>
        <pc:spChg chg="add del mod">
          <ac:chgData name="Daphne Chuah" userId="750c03d4-b9ac-4705-9aff-70c8b686d073" providerId="ADAL" clId="{980AD1F5-B4C2-40B4-8E7A-4E799A0E89BD}" dt="2022-07-25T08:17:50.501" v="478"/>
          <ac:spMkLst>
            <pc:docMk/>
            <pc:sldMk cId="2029180088" sldId="2147471107"/>
            <ac:spMk id="64" creationId="{4E209CB0-EE79-982E-066B-E9402D4AB297}"/>
          </ac:spMkLst>
        </pc:spChg>
        <pc:spChg chg="add del mod">
          <ac:chgData name="Daphne Chuah" userId="750c03d4-b9ac-4705-9aff-70c8b686d073" providerId="ADAL" clId="{980AD1F5-B4C2-40B4-8E7A-4E799A0E89BD}" dt="2022-07-25T08:17:50.501" v="478"/>
          <ac:spMkLst>
            <pc:docMk/>
            <pc:sldMk cId="2029180088" sldId="2147471107"/>
            <ac:spMk id="65" creationId="{D92649D8-EEE2-F114-16BF-119D63CBC4F8}"/>
          </ac:spMkLst>
        </pc:spChg>
        <pc:spChg chg="add del mod">
          <ac:chgData name="Daphne Chuah" userId="750c03d4-b9ac-4705-9aff-70c8b686d073" providerId="ADAL" clId="{980AD1F5-B4C2-40B4-8E7A-4E799A0E89BD}" dt="2022-07-25T08:18:35.825" v="484"/>
          <ac:spMkLst>
            <pc:docMk/>
            <pc:sldMk cId="2029180088" sldId="2147471107"/>
            <ac:spMk id="66" creationId="{EF9EBD8D-2ABD-C199-9B33-7B94221F17E3}"/>
          </ac:spMkLst>
        </pc:spChg>
        <pc:spChg chg="add del mod">
          <ac:chgData name="Daphne Chuah" userId="750c03d4-b9ac-4705-9aff-70c8b686d073" providerId="ADAL" clId="{980AD1F5-B4C2-40B4-8E7A-4E799A0E89BD}" dt="2022-07-25T08:18:35.825" v="484"/>
          <ac:spMkLst>
            <pc:docMk/>
            <pc:sldMk cId="2029180088" sldId="2147471107"/>
            <ac:spMk id="67" creationId="{B41A8B73-017E-C9E6-5A7A-1F0BC6E59775}"/>
          </ac:spMkLst>
        </pc:spChg>
        <pc:spChg chg="mod">
          <ac:chgData name="Daphne Chuah" userId="750c03d4-b9ac-4705-9aff-70c8b686d073" providerId="ADAL" clId="{980AD1F5-B4C2-40B4-8E7A-4E799A0E89BD}" dt="2022-07-25T08:18:13.477" v="481"/>
          <ac:spMkLst>
            <pc:docMk/>
            <pc:sldMk cId="2029180088" sldId="2147471107"/>
            <ac:spMk id="69" creationId="{FB39B9BF-0740-233E-898B-53B8E09FD95F}"/>
          </ac:spMkLst>
        </pc:spChg>
        <pc:spChg chg="mod">
          <ac:chgData name="Daphne Chuah" userId="750c03d4-b9ac-4705-9aff-70c8b686d073" providerId="ADAL" clId="{980AD1F5-B4C2-40B4-8E7A-4E799A0E89BD}" dt="2022-07-25T08:18:13.477" v="481"/>
          <ac:spMkLst>
            <pc:docMk/>
            <pc:sldMk cId="2029180088" sldId="2147471107"/>
            <ac:spMk id="70" creationId="{73235F70-8999-FC14-FFA9-DD01EE8B5720}"/>
          </ac:spMkLst>
        </pc:spChg>
        <pc:spChg chg="mod">
          <ac:chgData name="Daphne Chuah" userId="750c03d4-b9ac-4705-9aff-70c8b686d073" providerId="ADAL" clId="{980AD1F5-B4C2-40B4-8E7A-4E799A0E89BD}" dt="2022-07-25T08:18:13.477" v="481"/>
          <ac:spMkLst>
            <pc:docMk/>
            <pc:sldMk cId="2029180088" sldId="2147471107"/>
            <ac:spMk id="71" creationId="{C4475A5E-21F4-6160-D6CC-961FE8CED29B}"/>
          </ac:spMkLst>
        </pc:spChg>
        <pc:spChg chg="add del mod">
          <ac:chgData name="Daphne Chuah" userId="750c03d4-b9ac-4705-9aff-70c8b686d073" providerId="ADAL" clId="{980AD1F5-B4C2-40B4-8E7A-4E799A0E89BD}" dt="2022-07-25T08:18:35.825" v="484"/>
          <ac:spMkLst>
            <pc:docMk/>
            <pc:sldMk cId="2029180088" sldId="2147471107"/>
            <ac:spMk id="75" creationId="{AC5782F6-D3F3-E0F4-9AB9-F55A76690E10}"/>
          </ac:spMkLst>
        </pc:spChg>
        <pc:spChg chg="add del mod">
          <ac:chgData name="Daphne Chuah" userId="750c03d4-b9ac-4705-9aff-70c8b686d073" providerId="ADAL" clId="{980AD1F5-B4C2-40B4-8E7A-4E799A0E89BD}" dt="2022-07-25T08:18:35.825" v="484"/>
          <ac:spMkLst>
            <pc:docMk/>
            <pc:sldMk cId="2029180088" sldId="2147471107"/>
            <ac:spMk id="76" creationId="{6803EFD8-5753-5A83-5065-3BFBE6FA0651}"/>
          </ac:spMkLst>
        </pc:spChg>
        <pc:spChg chg="add del mod">
          <ac:chgData name="Daphne Chuah" userId="750c03d4-b9ac-4705-9aff-70c8b686d073" providerId="ADAL" clId="{980AD1F5-B4C2-40B4-8E7A-4E799A0E89BD}" dt="2022-07-25T08:18:35.825" v="484"/>
          <ac:spMkLst>
            <pc:docMk/>
            <pc:sldMk cId="2029180088" sldId="2147471107"/>
            <ac:spMk id="77" creationId="{2A487C94-8A72-8336-8DBF-B0E6EACB52C5}"/>
          </ac:spMkLst>
        </pc:spChg>
        <pc:spChg chg="add del mod">
          <ac:chgData name="Daphne Chuah" userId="750c03d4-b9ac-4705-9aff-70c8b686d073" providerId="ADAL" clId="{980AD1F5-B4C2-40B4-8E7A-4E799A0E89BD}" dt="2022-07-25T08:18:35.825" v="484"/>
          <ac:spMkLst>
            <pc:docMk/>
            <pc:sldMk cId="2029180088" sldId="2147471107"/>
            <ac:spMk id="79" creationId="{2D715BD5-DE67-C082-41F3-B201F734207F}"/>
          </ac:spMkLst>
        </pc:spChg>
        <pc:spChg chg="add del mod">
          <ac:chgData name="Daphne Chuah" userId="750c03d4-b9ac-4705-9aff-70c8b686d073" providerId="ADAL" clId="{980AD1F5-B4C2-40B4-8E7A-4E799A0E89BD}" dt="2022-07-25T08:18:35.825" v="484"/>
          <ac:spMkLst>
            <pc:docMk/>
            <pc:sldMk cId="2029180088" sldId="2147471107"/>
            <ac:spMk id="81" creationId="{67C7612E-FD80-9AF0-8368-3CC59FE612DD}"/>
          </ac:spMkLst>
        </pc:spChg>
        <pc:spChg chg="add del mod">
          <ac:chgData name="Daphne Chuah" userId="750c03d4-b9ac-4705-9aff-70c8b686d073" providerId="ADAL" clId="{980AD1F5-B4C2-40B4-8E7A-4E799A0E89BD}" dt="2022-07-25T08:18:35.825" v="484"/>
          <ac:spMkLst>
            <pc:docMk/>
            <pc:sldMk cId="2029180088" sldId="2147471107"/>
            <ac:spMk id="82" creationId="{F2E1C346-5AAC-3C34-53C0-D996C6058F56}"/>
          </ac:spMkLst>
        </pc:spChg>
        <pc:spChg chg="add del mod">
          <ac:chgData name="Daphne Chuah" userId="750c03d4-b9ac-4705-9aff-70c8b686d073" providerId="ADAL" clId="{980AD1F5-B4C2-40B4-8E7A-4E799A0E89BD}" dt="2022-07-25T08:18:35.825" v="484"/>
          <ac:spMkLst>
            <pc:docMk/>
            <pc:sldMk cId="2029180088" sldId="2147471107"/>
            <ac:spMk id="83" creationId="{12DE10E0-7A07-A262-D3CC-EFA8E2CBE05F}"/>
          </ac:spMkLst>
        </pc:spChg>
        <pc:spChg chg="mod">
          <ac:chgData name="Daphne Chuah" userId="750c03d4-b9ac-4705-9aff-70c8b686d073" providerId="ADAL" clId="{980AD1F5-B4C2-40B4-8E7A-4E799A0E89BD}" dt="2022-07-25T08:18:13.477" v="481"/>
          <ac:spMkLst>
            <pc:docMk/>
            <pc:sldMk cId="2029180088" sldId="2147471107"/>
            <ac:spMk id="86" creationId="{3CF36B08-011C-1756-2C01-18F98B11E71A}"/>
          </ac:spMkLst>
        </pc:spChg>
        <pc:spChg chg="mod">
          <ac:chgData name="Daphne Chuah" userId="750c03d4-b9ac-4705-9aff-70c8b686d073" providerId="ADAL" clId="{980AD1F5-B4C2-40B4-8E7A-4E799A0E89BD}" dt="2022-07-25T08:18:13.477" v="481"/>
          <ac:spMkLst>
            <pc:docMk/>
            <pc:sldMk cId="2029180088" sldId="2147471107"/>
            <ac:spMk id="87" creationId="{D06DA422-E2FE-C013-56EF-C56EC6A45F28}"/>
          </ac:spMkLst>
        </pc:spChg>
        <pc:spChg chg="add del mod">
          <ac:chgData name="Daphne Chuah" userId="750c03d4-b9ac-4705-9aff-70c8b686d073" providerId="ADAL" clId="{980AD1F5-B4C2-40B4-8E7A-4E799A0E89BD}" dt="2022-07-25T08:18:33.828" v="483"/>
          <ac:spMkLst>
            <pc:docMk/>
            <pc:sldMk cId="2029180088" sldId="2147471107"/>
            <ac:spMk id="88" creationId="{7D3CAEF4-BAB0-19BA-0228-82465C28B2A3}"/>
          </ac:spMkLst>
        </pc:spChg>
        <pc:spChg chg="add del mod">
          <ac:chgData name="Daphne Chuah" userId="750c03d4-b9ac-4705-9aff-70c8b686d073" providerId="ADAL" clId="{980AD1F5-B4C2-40B4-8E7A-4E799A0E89BD}" dt="2022-07-25T08:18:33.828" v="483"/>
          <ac:spMkLst>
            <pc:docMk/>
            <pc:sldMk cId="2029180088" sldId="2147471107"/>
            <ac:spMk id="95" creationId="{8D7705FB-5569-2C45-4B48-1987EEA75C29}"/>
          </ac:spMkLst>
        </pc:spChg>
        <pc:spChg chg="add del mod">
          <ac:chgData name="Daphne Chuah" userId="750c03d4-b9ac-4705-9aff-70c8b686d073" providerId="ADAL" clId="{980AD1F5-B4C2-40B4-8E7A-4E799A0E89BD}" dt="2022-07-25T08:19:27.787" v="490" actId="478"/>
          <ac:spMkLst>
            <pc:docMk/>
            <pc:sldMk cId="2029180088" sldId="2147471107"/>
            <ac:spMk id="96" creationId="{A6C5F5FA-F396-6807-EEFB-E0C9F3C70F45}"/>
          </ac:spMkLst>
        </pc:spChg>
        <pc:spChg chg="mod">
          <ac:chgData name="Daphne Chuah" userId="750c03d4-b9ac-4705-9aff-70c8b686d073" providerId="ADAL" clId="{980AD1F5-B4C2-40B4-8E7A-4E799A0E89BD}" dt="2022-07-25T08:18:56.451" v="485"/>
          <ac:spMkLst>
            <pc:docMk/>
            <pc:sldMk cId="2029180088" sldId="2147471107"/>
            <ac:spMk id="99" creationId="{B99E7ACE-5C90-D519-278B-5057726368A5}"/>
          </ac:spMkLst>
        </pc:spChg>
        <pc:spChg chg="add del mod">
          <ac:chgData name="Daphne Chuah" userId="750c03d4-b9ac-4705-9aff-70c8b686d073" providerId="ADAL" clId="{980AD1F5-B4C2-40B4-8E7A-4E799A0E89BD}" dt="2022-07-25T08:19:24.692" v="489" actId="478"/>
          <ac:spMkLst>
            <pc:docMk/>
            <pc:sldMk cId="2029180088" sldId="2147471107"/>
            <ac:spMk id="106" creationId="{D79EFD1D-D04B-36AB-0926-49A877AEE3B8}"/>
          </ac:spMkLst>
        </pc:spChg>
        <pc:spChg chg="add del mod">
          <ac:chgData name="Daphne Chuah" userId="750c03d4-b9ac-4705-9aff-70c8b686d073" providerId="ADAL" clId="{980AD1F5-B4C2-40B4-8E7A-4E799A0E89BD}" dt="2022-07-25T08:19:24.692" v="489" actId="478"/>
          <ac:spMkLst>
            <pc:docMk/>
            <pc:sldMk cId="2029180088" sldId="2147471107"/>
            <ac:spMk id="107" creationId="{3D320866-A91B-6A02-4E36-7C4760D74436}"/>
          </ac:spMkLst>
        </pc:spChg>
        <pc:spChg chg="add del mod">
          <ac:chgData name="Daphne Chuah" userId="750c03d4-b9ac-4705-9aff-70c8b686d073" providerId="ADAL" clId="{980AD1F5-B4C2-40B4-8E7A-4E799A0E89BD}" dt="2022-07-25T08:19:24.692" v="489" actId="478"/>
          <ac:spMkLst>
            <pc:docMk/>
            <pc:sldMk cId="2029180088" sldId="2147471107"/>
            <ac:spMk id="111" creationId="{C3CEEAF5-5E1D-8CA3-5B19-3E34B567F198}"/>
          </ac:spMkLst>
        </pc:spChg>
        <pc:spChg chg="add del mod">
          <ac:chgData name="Daphne Chuah" userId="750c03d4-b9ac-4705-9aff-70c8b686d073" providerId="ADAL" clId="{980AD1F5-B4C2-40B4-8E7A-4E799A0E89BD}" dt="2022-07-25T08:19:24.692" v="489" actId="478"/>
          <ac:spMkLst>
            <pc:docMk/>
            <pc:sldMk cId="2029180088" sldId="2147471107"/>
            <ac:spMk id="112" creationId="{5F2D9366-A239-BFA7-5CB5-F2BF5E0D015C}"/>
          </ac:spMkLst>
        </pc:spChg>
        <pc:spChg chg="add del mod">
          <ac:chgData name="Daphne Chuah" userId="750c03d4-b9ac-4705-9aff-70c8b686d073" providerId="ADAL" clId="{980AD1F5-B4C2-40B4-8E7A-4E799A0E89BD}" dt="2022-07-25T08:19:24.692" v="489" actId="478"/>
          <ac:spMkLst>
            <pc:docMk/>
            <pc:sldMk cId="2029180088" sldId="2147471107"/>
            <ac:spMk id="113" creationId="{68079D64-503E-A467-FFA4-F4214A9F498D}"/>
          </ac:spMkLst>
        </pc:spChg>
        <pc:spChg chg="add del mod">
          <ac:chgData name="Daphne Chuah" userId="750c03d4-b9ac-4705-9aff-70c8b686d073" providerId="ADAL" clId="{980AD1F5-B4C2-40B4-8E7A-4E799A0E89BD}" dt="2022-07-25T08:19:24.692" v="489" actId="478"/>
          <ac:spMkLst>
            <pc:docMk/>
            <pc:sldMk cId="2029180088" sldId="2147471107"/>
            <ac:spMk id="115" creationId="{75E92285-6A56-1200-D218-E51D8D4B1240}"/>
          </ac:spMkLst>
        </pc:spChg>
        <pc:spChg chg="add del mod">
          <ac:chgData name="Daphne Chuah" userId="750c03d4-b9ac-4705-9aff-70c8b686d073" providerId="ADAL" clId="{980AD1F5-B4C2-40B4-8E7A-4E799A0E89BD}" dt="2022-07-25T08:19:24.692" v="489" actId="478"/>
          <ac:spMkLst>
            <pc:docMk/>
            <pc:sldMk cId="2029180088" sldId="2147471107"/>
            <ac:spMk id="117" creationId="{5909BBF2-0F4F-FAC2-637F-71924BA1816F}"/>
          </ac:spMkLst>
        </pc:spChg>
        <pc:spChg chg="add del mod">
          <ac:chgData name="Daphne Chuah" userId="750c03d4-b9ac-4705-9aff-70c8b686d073" providerId="ADAL" clId="{980AD1F5-B4C2-40B4-8E7A-4E799A0E89BD}" dt="2022-07-25T08:19:24.692" v="489" actId="478"/>
          <ac:spMkLst>
            <pc:docMk/>
            <pc:sldMk cId="2029180088" sldId="2147471107"/>
            <ac:spMk id="118" creationId="{F4698884-4A7F-F5F5-AB7B-771EF7CF900F}"/>
          </ac:spMkLst>
        </pc:spChg>
        <pc:spChg chg="add del mod">
          <ac:chgData name="Daphne Chuah" userId="750c03d4-b9ac-4705-9aff-70c8b686d073" providerId="ADAL" clId="{980AD1F5-B4C2-40B4-8E7A-4E799A0E89BD}" dt="2022-07-25T08:19:24.692" v="489" actId="478"/>
          <ac:spMkLst>
            <pc:docMk/>
            <pc:sldMk cId="2029180088" sldId="2147471107"/>
            <ac:spMk id="119" creationId="{18AD28B5-DC88-3EAB-F80A-D634BFF2646E}"/>
          </ac:spMkLst>
        </pc:spChg>
        <pc:spChg chg="add del mod">
          <ac:chgData name="Daphne Chuah" userId="750c03d4-b9ac-4705-9aff-70c8b686d073" providerId="ADAL" clId="{980AD1F5-B4C2-40B4-8E7A-4E799A0E89BD}" dt="2022-07-25T08:19:24.692" v="489" actId="478"/>
          <ac:spMkLst>
            <pc:docMk/>
            <pc:sldMk cId="2029180088" sldId="2147471107"/>
            <ac:spMk id="120" creationId="{DD9B673B-D7C4-96DC-8183-BF8D533B1247}"/>
          </ac:spMkLst>
        </pc:spChg>
        <pc:spChg chg="add del mod">
          <ac:chgData name="Daphne Chuah" userId="750c03d4-b9ac-4705-9aff-70c8b686d073" providerId="ADAL" clId="{980AD1F5-B4C2-40B4-8E7A-4E799A0E89BD}" dt="2022-07-25T08:19:27.787" v="490" actId="478"/>
          <ac:spMkLst>
            <pc:docMk/>
            <pc:sldMk cId="2029180088" sldId="2147471107"/>
            <ac:spMk id="122" creationId="{BB02D952-DBBD-177A-24BD-7ABB0D96F2BE}"/>
          </ac:spMkLst>
        </pc:spChg>
        <pc:spChg chg="add del mod">
          <ac:chgData name="Daphne Chuah" userId="750c03d4-b9ac-4705-9aff-70c8b686d073" providerId="ADAL" clId="{980AD1F5-B4C2-40B4-8E7A-4E799A0E89BD}" dt="2022-07-25T08:19:24.692" v="489" actId="478"/>
          <ac:spMkLst>
            <pc:docMk/>
            <pc:sldMk cId="2029180088" sldId="2147471107"/>
            <ac:spMk id="123" creationId="{6457B18C-383A-103D-C471-E113E7689277}"/>
          </ac:spMkLst>
        </pc:spChg>
        <pc:spChg chg="mod">
          <ac:chgData name="Daphne Chuah" userId="750c03d4-b9ac-4705-9aff-70c8b686d073" providerId="ADAL" clId="{980AD1F5-B4C2-40B4-8E7A-4E799A0E89BD}" dt="2022-07-25T08:19:44.300" v="491"/>
          <ac:spMkLst>
            <pc:docMk/>
            <pc:sldMk cId="2029180088" sldId="2147471107"/>
            <ac:spMk id="126" creationId="{3EE6217E-2E62-A097-EE55-A0671FFD73BE}"/>
          </ac:spMkLst>
        </pc:spChg>
        <pc:spChg chg="add mod">
          <ac:chgData name="Daphne Chuah" userId="750c03d4-b9ac-4705-9aff-70c8b686d073" providerId="ADAL" clId="{980AD1F5-B4C2-40B4-8E7A-4E799A0E89BD}" dt="2022-07-25T09:05:52.472" v="1060" actId="1035"/>
          <ac:spMkLst>
            <pc:docMk/>
            <pc:sldMk cId="2029180088" sldId="2147471107"/>
            <ac:spMk id="127" creationId="{A0F62CB5-DDC1-E5D0-7052-FB96DBF939C1}"/>
          </ac:spMkLst>
        </pc:spChg>
        <pc:spChg chg="add mod">
          <ac:chgData name="Daphne Chuah" userId="750c03d4-b9ac-4705-9aff-70c8b686d073" providerId="ADAL" clId="{980AD1F5-B4C2-40B4-8E7A-4E799A0E89BD}" dt="2022-07-25T09:05:52.472" v="1060" actId="1035"/>
          <ac:spMkLst>
            <pc:docMk/>
            <pc:sldMk cId="2029180088" sldId="2147471107"/>
            <ac:spMk id="128" creationId="{17F31CC6-9BC8-D996-138A-B6F231E57214}"/>
          </ac:spMkLst>
        </pc:spChg>
        <pc:spChg chg="add mod">
          <ac:chgData name="Daphne Chuah" userId="750c03d4-b9ac-4705-9aff-70c8b686d073" providerId="ADAL" clId="{980AD1F5-B4C2-40B4-8E7A-4E799A0E89BD}" dt="2022-07-25T09:05:52.472" v="1060" actId="1035"/>
          <ac:spMkLst>
            <pc:docMk/>
            <pc:sldMk cId="2029180088" sldId="2147471107"/>
            <ac:spMk id="129" creationId="{E9EAC277-A3D2-9149-6BA4-2AA988A5F875}"/>
          </ac:spMkLst>
        </pc:spChg>
        <pc:spChg chg="add mod">
          <ac:chgData name="Daphne Chuah" userId="750c03d4-b9ac-4705-9aff-70c8b686d073" providerId="ADAL" clId="{980AD1F5-B4C2-40B4-8E7A-4E799A0E89BD}" dt="2022-07-25T09:05:58.210" v="1061" actId="255"/>
          <ac:spMkLst>
            <pc:docMk/>
            <pc:sldMk cId="2029180088" sldId="2147471107"/>
            <ac:spMk id="133" creationId="{DEB24FD6-6534-CCE3-5B16-898433340E34}"/>
          </ac:spMkLst>
        </pc:spChg>
        <pc:spChg chg="add mod">
          <ac:chgData name="Daphne Chuah" userId="750c03d4-b9ac-4705-9aff-70c8b686d073" providerId="ADAL" clId="{980AD1F5-B4C2-40B4-8E7A-4E799A0E89BD}" dt="2022-07-25T09:05:58.210" v="1061" actId="255"/>
          <ac:spMkLst>
            <pc:docMk/>
            <pc:sldMk cId="2029180088" sldId="2147471107"/>
            <ac:spMk id="134" creationId="{1746A721-6052-7495-F299-DF4A6C85E77E}"/>
          </ac:spMkLst>
        </pc:spChg>
        <pc:spChg chg="add mod">
          <ac:chgData name="Daphne Chuah" userId="750c03d4-b9ac-4705-9aff-70c8b686d073" providerId="ADAL" clId="{980AD1F5-B4C2-40B4-8E7A-4E799A0E89BD}" dt="2022-07-25T09:05:58.210" v="1061" actId="255"/>
          <ac:spMkLst>
            <pc:docMk/>
            <pc:sldMk cId="2029180088" sldId="2147471107"/>
            <ac:spMk id="135" creationId="{B7A61915-18E1-8B58-07D1-3A3FAA729A01}"/>
          </ac:spMkLst>
        </pc:spChg>
        <pc:spChg chg="add mod">
          <ac:chgData name="Daphne Chuah" userId="750c03d4-b9ac-4705-9aff-70c8b686d073" providerId="ADAL" clId="{980AD1F5-B4C2-40B4-8E7A-4E799A0E89BD}" dt="2022-07-25T09:06:04.436" v="1062" actId="255"/>
          <ac:spMkLst>
            <pc:docMk/>
            <pc:sldMk cId="2029180088" sldId="2147471107"/>
            <ac:spMk id="137" creationId="{2EA376FC-2D43-0DC1-6C13-5CB4BC4EB3AD}"/>
          </ac:spMkLst>
        </pc:spChg>
        <pc:spChg chg="add mod">
          <ac:chgData name="Daphne Chuah" userId="750c03d4-b9ac-4705-9aff-70c8b686d073" providerId="ADAL" clId="{980AD1F5-B4C2-40B4-8E7A-4E799A0E89BD}" dt="2022-07-25T08:28:45.802" v="683" actId="1037"/>
          <ac:spMkLst>
            <pc:docMk/>
            <pc:sldMk cId="2029180088" sldId="2147471107"/>
            <ac:spMk id="139" creationId="{14A4FF1D-B0C6-A70A-B92E-34E90FED6220}"/>
          </ac:spMkLst>
        </pc:spChg>
        <pc:spChg chg="add mod">
          <ac:chgData name="Daphne Chuah" userId="750c03d4-b9ac-4705-9aff-70c8b686d073" providerId="ADAL" clId="{980AD1F5-B4C2-40B4-8E7A-4E799A0E89BD}" dt="2022-07-25T09:06:04.436" v="1062" actId="255"/>
          <ac:spMkLst>
            <pc:docMk/>
            <pc:sldMk cId="2029180088" sldId="2147471107"/>
            <ac:spMk id="140" creationId="{7FD32EA6-7A6C-139F-D067-2B3C642FF5FD}"/>
          </ac:spMkLst>
        </pc:spChg>
        <pc:spChg chg="add mod">
          <ac:chgData name="Daphne Chuah" userId="750c03d4-b9ac-4705-9aff-70c8b686d073" providerId="ADAL" clId="{980AD1F5-B4C2-40B4-8E7A-4E799A0E89BD}" dt="2022-07-25T09:05:52.472" v="1060" actId="1035"/>
          <ac:spMkLst>
            <pc:docMk/>
            <pc:sldMk cId="2029180088" sldId="2147471107"/>
            <ac:spMk id="141" creationId="{BFDAA3E3-7C5D-80AC-876A-39B81B60ED2D}"/>
          </ac:spMkLst>
        </pc:spChg>
        <pc:spChg chg="add mod">
          <ac:chgData name="Daphne Chuah" userId="750c03d4-b9ac-4705-9aff-70c8b686d073" providerId="ADAL" clId="{980AD1F5-B4C2-40B4-8E7A-4E799A0E89BD}" dt="2022-07-25T09:05:52.472" v="1060" actId="1035"/>
          <ac:spMkLst>
            <pc:docMk/>
            <pc:sldMk cId="2029180088" sldId="2147471107"/>
            <ac:spMk id="142" creationId="{62EFE34A-A4AF-6D6F-973C-F4AA04E87EDD}"/>
          </ac:spMkLst>
        </pc:spChg>
        <pc:spChg chg="add del mod">
          <ac:chgData name="Daphne Chuah" userId="750c03d4-b9ac-4705-9aff-70c8b686d073" providerId="ADAL" clId="{980AD1F5-B4C2-40B4-8E7A-4E799A0E89BD}" dt="2022-07-25T08:30:36.563" v="791"/>
          <ac:spMkLst>
            <pc:docMk/>
            <pc:sldMk cId="2029180088" sldId="2147471107"/>
            <ac:spMk id="148" creationId="{98051F29-6F83-B274-A3CC-3886C55E0C62}"/>
          </ac:spMkLst>
        </pc:spChg>
        <pc:spChg chg="add del mod">
          <ac:chgData name="Daphne Chuah" userId="750c03d4-b9ac-4705-9aff-70c8b686d073" providerId="ADAL" clId="{980AD1F5-B4C2-40B4-8E7A-4E799A0E89BD}" dt="2022-07-25T08:30:36.563" v="791"/>
          <ac:spMkLst>
            <pc:docMk/>
            <pc:sldMk cId="2029180088" sldId="2147471107"/>
            <ac:spMk id="155" creationId="{B4E40FF9-EF94-743A-C7C5-B030E9B11AF6}"/>
          </ac:spMkLst>
        </pc:spChg>
        <pc:spChg chg="add del mod">
          <ac:chgData name="Daphne Chuah" userId="750c03d4-b9ac-4705-9aff-70c8b686d073" providerId="ADAL" clId="{980AD1F5-B4C2-40B4-8E7A-4E799A0E89BD}" dt="2022-07-25T08:33:49.146" v="866" actId="478"/>
          <ac:spMkLst>
            <pc:docMk/>
            <pc:sldMk cId="2029180088" sldId="2147471107"/>
            <ac:spMk id="158" creationId="{190EEF82-AE94-DE4C-8AC2-3189EDE385ED}"/>
          </ac:spMkLst>
        </pc:spChg>
        <pc:spChg chg="add mod">
          <ac:chgData name="Daphne Chuah" userId="750c03d4-b9ac-4705-9aff-70c8b686d073" providerId="ADAL" clId="{980AD1F5-B4C2-40B4-8E7A-4E799A0E89BD}" dt="2022-07-25T08:37:38.404" v="904" actId="1035"/>
          <ac:spMkLst>
            <pc:docMk/>
            <pc:sldMk cId="2029180088" sldId="2147471107"/>
            <ac:spMk id="159" creationId="{B1FCE8A4-1FAF-7D95-C675-50266939EDEC}"/>
          </ac:spMkLst>
        </pc:spChg>
        <pc:spChg chg="add del mod">
          <ac:chgData name="Daphne Chuah" userId="750c03d4-b9ac-4705-9aff-70c8b686d073" providerId="ADAL" clId="{980AD1F5-B4C2-40B4-8E7A-4E799A0E89BD}" dt="2022-07-25T08:32:44.811" v="857"/>
          <ac:spMkLst>
            <pc:docMk/>
            <pc:sldMk cId="2029180088" sldId="2147471107"/>
            <ac:spMk id="160" creationId="{A4E9BC3E-426E-9616-169B-6890F230BF31}"/>
          </ac:spMkLst>
        </pc:spChg>
        <pc:spChg chg="add mod">
          <ac:chgData name="Daphne Chuah" userId="750c03d4-b9ac-4705-9aff-70c8b686d073" providerId="ADAL" clId="{980AD1F5-B4C2-40B4-8E7A-4E799A0E89BD}" dt="2022-07-25T08:33:23.677" v="862" actId="14100"/>
          <ac:spMkLst>
            <pc:docMk/>
            <pc:sldMk cId="2029180088" sldId="2147471107"/>
            <ac:spMk id="161" creationId="{4D4228B6-394F-64AC-17F2-5C14BBAD9B46}"/>
          </ac:spMkLst>
        </pc:spChg>
        <pc:spChg chg="add mod">
          <ac:chgData name="Daphne Chuah" userId="750c03d4-b9ac-4705-9aff-70c8b686d073" providerId="ADAL" clId="{980AD1F5-B4C2-40B4-8E7A-4E799A0E89BD}" dt="2022-07-25T08:39:38.340" v="909"/>
          <ac:spMkLst>
            <pc:docMk/>
            <pc:sldMk cId="2029180088" sldId="2147471107"/>
            <ac:spMk id="167" creationId="{B2D93E5F-26F7-1482-8BF3-DEE296B2D173}"/>
          </ac:spMkLst>
        </pc:spChg>
        <pc:grpChg chg="del">
          <ac:chgData name="Daphne Chuah" userId="750c03d4-b9ac-4705-9aff-70c8b686d073" providerId="ADAL" clId="{980AD1F5-B4C2-40B4-8E7A-4E799A0E89BD}" dt="2022-07-25T08:17:02.906" v="467" actId="478"/>
          <ac:grpSpMkLst>
            <pc:docMk/>
            <pc:sldMk cId="2029180088" sldId="2147471107"/>
            <ac:grpSpMk id="18" creationId="{50DEE370-AC3A-4229-A3F6-23FA95B1DBD0}"/>
          </ac:grpSpMkLst>
        </pc:grpChg>
        <pc:grpChg chg="del">
          <ac:chgData name="Daphne Chuah" userId="750c03d4-b9ac-4705-9aff-70c8b686d073" providerId="ADAL" clId="{980AD1F5-B4C2-40B4-8E7A-4E799A0E89BD}" dt="2022-07-25T08:17:02.906" v="467" actId="478"/>
          <ac:grpSpMkLst>
            <pc:docMk/>
            <pc:sldMk cId="2029180088" sldId="2147471107"/>
            <ac:grpSpMk id="34" creationId="{60EACC46-A3C1-43E5-85ED-3FF06FF7359A}"/>
          </ac:grpSpMkLst>
        </pc:grpChg>
        <pc:grpChg chg="add del mod">
          <ac:chgData name="Daphne Chuah" userId="750c03d4-b9ac-4705-9aff-70c8b686d073" providerId="ADAL" clId="{980AD1F5-B4C2-40B4-8E7A-4E799A0E89BD}" dt="2022-07-25T08:17:50.501" v="478"/>
          <ac:grpSpMkLst>
            <pc:docMk/>
            <pc:sldMk cId="2029180088" sldId="2147471107"/>
            <ac:grpSpMk id="39" creationId="{BE8201C0-58DD-E39A-E1F2-5D414B568661}"/>
          </ac:grpSpMkLst>
        </pc:grpChg>
        <pc:grpChg chg="add del mod">
          <ac:chgData name="Daphne Chuah" userId="750c03d4-b9ac-4705-9aff-70c8b686d073" providerId="ADAL" clId="{980AD1F5-B4C2-40B4-8E7A-4E799A0E89BD}" dt="2022-07-25T08:17:50.501" v="478"/>
          <ac:grpSpMkLst>
            <pc:docMk/>
            <pc:sldMk cId="2029180088" sldId="2147471107"/>
            <ac:grpSpMk id="42" creationId="{E07A1592-B4A4-D204-A3D3-24741373197B}"/>
          </ac:grpSpMkLst>
        </pc:grpChg>
        <pc:grpChg chg="add del mod">
          <ac:chgData name="Daphne Chuah" userId="750c03d4-b9ac-4705-9aff-70c8b686d073" providerId="ADAL" clId="{980AD1F5-B4C2-40B4-8E7A-4E799A0E89BD}" dt="2022-07-25T08:18:35.825" v="484"/>
          <ac:grpSpMkLst>
            <pc:docMk/>
            <pc:sldMk cId="2029180088" sldId="2147471107"/>
            <ac:grpSpMk id="68" creationId="{BCF53C79-B923-EBA0-0A95-24552486CB13}"/>
          </ac:grpSpMkLst>
        </pc:grpChg>
        <pc:grpChg chg="add del mod">
          <ac:chgData name="Daphne Chuah" userId="750c03d4-b9ac-4705-9aff-70c8b686d073" providerId="ADAL" clId="{980AD1F5-B4C2-40B4-8E7A-4E799A0E89BD}" dt="2022-07-25T08:18:35.825" v="484"/>
          <ac:grpSpMkLst>
            <pc:docMk/>
            <pc:sldMk cId="2029180088" sldId="2147471107"/>
            <ac:grpSpMk id="84" creationId="{9E3C41A9-B5F9-B31C-BF48-A7DE7C2A974B}"/>
          </ac:grpSpMkLst>
        </pc:grpChg>
        <pc:grpChg chg="add del mod">
          <ac:chgData name="Daphne Chuah" userId="750c03d4-b9ac-4705-9aff-70c8b686d073" providerId="ADAL" clId="{980AD1F5-B4C2-40B4-8E7A-4E799A0E89BD}" dt="2022-07-25T08:18:33.828" v="483"/>
          <ac:grpSpMkLst>
            <pc:docMk/>
            <pc:sldMk cId="2029180088" sldId="2147471107"/>
            <ac:grpSpMk id="89" creationId="{0DB789FE-37C1-E75E-838A-80ADF6218D36}"/>
          </ac:grpSpMkLst>
        </pc:grpChg>
        <pc:grpChg chg="add del mod">
          <ac:chgData name="Daphne Chuah" userId="750c03d4-b9ac-4705-9aff-70c8b686d073" providerId="ADAL" clId="{980AD1F5-B4C2-40B4-8E7A-4E799A0E89BD}" dt="2022-07-25T08:19:24.692" v="489" actId="478"/>
          <ac:grpSpMkLst>
            <pc:docMk/>
            <pc:sldMk cId="2029180088" sldId="2147471107"/>
            <ac:grpSpMk id="97" creationId="{E0CC540C-BE53-4532-DB5E-92AD22241A07}"/>
          </ac:grpSpMkLst>
        </pc:grpChg>
        <pc:grpChg chg="add del mod">
          <ac:chgData name="Daphne Chuah" userId="750c03d4-b9ac-4705-9aff-70c8b686d073" providerId="ADAL" clId="{980AD1F5-B4C2-40B4-8E7A-4E799A0E89BD}" dt="2022-07-25T08:19:27.787" v="490" actId="478"/>
          <ac:grpSpMkLst>
            <pc:docMk/>
            <pc:sldMk cId="2029180088" sldId="2147471107"/>
            <ac:grpSpMk id="100" creationId="{11331AD3-CB08-6795-9BE3-11B5C4967DE6}"/>
          </ac:grpSpMkLst>
        </pc:grpChg>
        <pc:grpChg chg="add mod">
          <ac:chgData name="Daphne Chuah" userId="750c03d4-b9ac-4705-9aff-70c8b686d073" providerId="ADAL" clId="{980AD1F5-B4C2-40B4-8E7A-4E799A0E89BD}" dt="2022-07-25T09:05:52.472" v="1060" actId="1035"/>
          <ac:grpSpMkLst>
            <pc:docMk/>
            <pc:sldMk cId="2029180088" sldId="2147471107"/>
            <ac:grpSpMk id="124" creationId="{A80DF535-D90D-0E16-7864-86C6D85FFA42}"/>
          </ac:grpSpMkLst>
        </pc:grpChg>
        <pc:grpChg chg="add del mod">
          <ac:chgData name="Daphne Chuah" userId="750c03d4-b9ac-4705-9aff-70c8b686d073" providerId="ADAL" clId="{980AD1F5-B4C2-40B4-8E7A-4E799A0E89BD}" dt="2022-07-25T08:30:36.563" v="791"/>
          <ac:grpSpMkLst>
            <pc:docMk/>
            <pc:sldMk cId="2029180088" sldId="2147471107"/>
            <ac:grpSpMk id="149" creationId="{4C37599F-F1B1-8270-DE8A-C230F3E9FA9C}"/>
          </ac:grpSpMkLst>
        </pc:grpChg>
        <pc:grpChg chg="add mod">
          <ac:chgData name="Daphne Chuah" userId="750c03d4-b9ac-4705-9aff-70c8b686d073" providerId="ADAL" clId="{980AD1F5-B4C2-40B4-8E7A-4E799A0E89BD}" dt="2022-07-25T08:37:38.404" v="904" actId="1035"/>
          <ac:grpSpMkLst>
            <pc:docMk/>
            <pc:sldMk cId="2029180088" sldId="2147471107"/>
            <ac:grpSpMk id="162" creationId="{58DAE113-9987-D62F-DBA0-2FE4B3738C5D}"/>
          </ac:grpSpMkLst>
        </pc:grpChg>
        <pc:graphicFrameChg chg="mod">
          <ac:chgData name="Daphne Chuah" userId="750c03d4-b9ac-4705-9aff-70c8b686d073" providerId="ADAL" clId="{980AD1F5-B4C2-40B4-8E7A-4E799A0E89BD}" dt="2022-07-25T08:18:13.477" v="481"/>
          <ac:graphicFrameMkLst>
            <pc:docMk/>
            <pc:sldMk cId="2029180088" sldId="2147471107"/>
            <ac:graphicFrameMk id="85" creationId="{81A47C73-238E-A911-C8C4-C3CE1F600A96}"/>
          </ac:graphicFrameMkLst>
        </pc:graphicFrameChg>
        <pc:picChg chg="mod">
          <ac:chgData name="Daphne Chuah" userId="750c03d4-b9ac-4705-9aff-70c8b686d073" providerId="ADAL" clId="{980AD1F5-B4C2-40B4-8E7A-4E799A0E89BD}" dt="2022-07-25T08:17:42.302" v="477"/>
          <ac:picMkLst>
            <pc:docMk/>
            <pc:sldMk cId="2029180088" sldId="2147471107"/>
            <ac:picMk id="40" creationId="{BE799618-70CE-4192-56C2-95A77F7C4EC6}"/>
          </ac:picMkLst>
        </pc:picChg>
        <pc:picChg chg="mod">
          <ac:chgData name="Daphne Chuah" userId="750c03d4-b9ac-4705-9aff-70c8b686d073" providerId="ADAL" clId="{980AD1F5-B4C2-40B4-8E7A-4E799A0E89BD}" dt="2022-07-25T08:17:42.302" v="477"/>
          <ac:picMkLst>
            <pc:docMk/>
            <pc:sldMk cId="2029180088" sldId="2147471107"/>
            <ac:picMk id="43" creationId="{A554D131-9C43-22CD-DC97-1EFC2B063D69}"/>
          </ac:picMkLst>
        </pc:picChg>
        <pc:picChg chg="mod">
          <ac:chgData name="Daphne Chuah" userId="750c03d4-b9ac-4705-9aff-70c8b686d073" providerId="ADAL" clId="{980AD1F5-B4C2-40B4-8E7A-4E799A0E89BD}" dt="2022-07-25T08:17:42.302" v="477"/>
          <ac:picMkLst>
            <pc:docMk/>
            <pc:sldMk cId="2029180088" sldId="2147471107"/>
            <ac:picMk id="44" creationId="{A7627D48-8F9B-BE96-5983-88084C1FC72E}"/>
          </ac:picMkLst>
        </pc:picChg>
        <pc:picChg chg="mod">
          <ac:chgData name="Daphne Chuah" userId="750c03d4-b9ac-4705-9aff-70c8b686d073" providerId="ADAL" clId="{980AD1F5-B4C2-40B4-8E7A-4E799A0E89BD}" dt="2022-07-25T08:17:42.302" v="477"/>
          <ac:picMkLst>
            <pc:docMk/>
            <pc:sldMk cId="2029180088" sldId="2147471107"/>
            <ac:picMk id="45" creationId="{5FB7A91C-4F39-F154-B43F-861A6E3E684B}"/>
          </ac:picMkLst>
        </pc:picChg>
        <pc:picChg chg="mod">
          <ac:chgData name="Daphne Chuah" userId="750c03d4-b9ac-4705-9aff-70c8b686d073" providerId="ADAL" clId="{980AD1F5-B4C2-40B4-8E7A-4E799A0E89BD}" dt="2022-07-25T08:17:42.302" v="477"/>
          <ac:picMkLst>
            <pc:docMk/>
            <pc:sldMk cId="2029180088" sldId="2147471107"/>
            <ac:picMk id="46" creationId="{18F3833A-BFF5-0C9F-92FF-2D77EB226DD7}"/>
          </ac:picMkLst>
        </pc:picChg>
        <pc:picChg chg="mod">
          <ac:chgData name="Daphne Chuah" userId="750c03d4-b9ac-4705-9aff-70c8b686d073" providerId="ADAL" clId="{980AD1F5-B4C2-40B4-8E7A-4E799A0E89BD}" dt="2022-07-25T08:18:25.380" v="482"/>
          <ac:picMkLst>
            <pc:docMk/>
            <pc:sldMk cId="2029180088" sldId="2147471107"/>
            <ac:picMk id="90" creationId="{35ABDE52-E750-6E18-D806-FDA43F35E03A}"/>
          </ac:picMkLst>
        </pc:picChg>
        <pc:picChg chg="mod">
          <ac:chgData name="Daphne Chuah" userId="750c03d4-b9ac-4705-9aff-70c8b686d073" providerId="ADAL" clId="{980AD1F5-B4C2-40B4-8E7A-4E799A0E89BD}" dt="2022-07-25T08:18:25.380" v="482"/>
          <ac:picMkLst>
            <pc:docMk/>
            <pc:sldMk cId="2029180088" sldId="2147471107"/>
            <ac:picMk id="91" creationId="{2AFC18AE-0EDA-E3D3-D093-7C0C17CFDEC0}"/>
          </ac:picMkLst>
        </pc:picChg>
        <pc:picChg chg="mod">
          <ac:chgData name="Daphne Chuah" userId="750c03d4-b9ac-4705-9aff-70c8b686d073" providerId="ADAL" clId="{980AD1F5-B4C2-40B4-8E7A-4E799A0E89BD}" dt="2022-07-25T08:18:25.380" v="482"/>
          <ac:picMkLst>
            <pc:docMk/>
            <pc:sldMk cId="2029180088" sldId="2147471107"/>
            <ac:picMk id="92" creationId="{1683B676-1CF3-B3C7-9A6D-F2A80D5214C0}"/>
          </ac:picMkLst>
        </pc:picChg>
        <pc:picChg chg="mod">
          <ac:chgData name="Daphne Chuah" userId="750c03d4-b9ac-4705-9aff-70c8b686d073" providerId="ADAL" clId="{980AD1F5-B4C2-40B4-8E7A-4E799A0E89BD}" dt="2022-07-25T08:18:25.380" v="482"/>
          <ac:picMkLst>
            <pc:docMk/>
            <pc:sldMk cId="2029180088" sldId="2147471107"/>
            <ac:picMk id="93" creationId="{FB0FCE01-0B8D-160E-18EA-A88F73AEE9C8}"/>
          </ac:picMkLst>
        </pc:picChg>
        <pc:picChg chg="mod">
          <ac:chgData name="Daphne Chuah" userId="750c03d4-b9ac-4705-9aff-70c8b686d073" providerId="ADAL" clId="{980AD1F5-B4C2-40B4-8E7A-4E799A0E89BD}" dt="2022-07-25T08:18:56.451" v="485"/>
          <ac:picMkLst>
            <pc:docMk/>
            <pc:sldMk cId="2029180088" sldId="2147471107"/>
            <ac:picMk id="98" creationId="{A1097101-4E00-9090-5A99-868C817B5731}"/>
          </ac:picMkLst>
        </pc:picChg>
        <pc:picChg chg="mod">
          <ac:chgData name="Daphne Chuah" userId="750c03d4-b9ac-4705-9aff-70c8b686d073" providerId="ADAL" clId="{980AD1F5-B4C2-40B4-8E7A-4E799A0E89BD}" dt="2022-07-25T08:18:56.451" v="485"/>
          <ac:picMkLst>
            <pc:docMk/>
            <pc:sldMk cId="2029180088" sldId="2147471107"/>
            <ac:picMk id="101" creationId="{D3A5A7EB-4F9A-70CC-19A4-45F6AAE792DA}"/>
          </ac:picMkLst>
        </pc:picChg>
        <pc:picChg chg="mod">
          <ac:chgData name="Daphne Chuah" userId="750c03d4-b9ac-4705-9aff-70c8b686d073" providerId="ADAL" clId="{980AD1F5-B4C2-40B4-8E7A-4E799A0E89BD}" dt="2022-07-25T08:18:56.451" v="485"/>
          <ac:picMkLst>
            <pc:docMk/>
            <pc:sldMk cId="2029180088" sldId="2147471107"/>
            <ac:picMk id="102" creationId="{172A3AD9-5A49-BAC2-F3FE-87BD2DFA49DD}"/>
          </ac:picMkLst>
        </pc:picChg>
        <pc:picChg chg="mod">
          <ac:chgData name="Daphne Chuah" userId="750c03d4-b9ac-4705-9aff-70c8b686d073" providerId="ADAL" clId="{980AD1F5-B4C2-40B4-8E7A-4E799A0E89BD}" dt="2022-07-25T08:18:56.451" v="485"/>
          <ac:picMkLst>
            <pc:docMk/>
            <pc:sldMk cId="2029180088" sldId="2147471107"/>
            <ac:picMk id="103" creationId="{F59CC612-289D-5043-66A4-E352CFFC02BF}"/>
          </ac:picMkLst>
        </pc:picChg>
        <pc:picChg chg="mod">
          <ac:chgData name="Daphne Chuah" userId="750c03d4-b9ac-4705-9aff-70c8b686d073" providerId="ADAL" clId="{980AD1F5-B4C2-40B4-8E7A-4E799A0E89BD}" dt="2022-07-25T08:18:56.451" v="485"/>
          <ac:picMkLst>
            <pc:docMk/>
            <pc:sldMk cId="2029180088" sldId="2147471107"/>
            <ac:picMk id="104" creationId="{FED31F1E-AA6A-0062-6D64-212C55B4B396}"/>
          </ac:picMkLst>
        </pc:picChg>
        <pc:picChg chg="mod">
          <ac:chgData name="Daphne Chuah" userId="750c03d4-b9ac-4705-9aff-70c8b686d073" providerId="ADAL" clId="{980AD1F5-B4C2-40B4-8E7A-4E799A0E89BD}" dt="2022-07-25T08:19:44.300" v="491"/>
          <ac:picMkLst>
            <pc:docMk/>
            <pc:sldMk cId="2029180088" sldId="2147471107"/>
            <ac:picMk id="125" creationId="{2ABC446E-E433-BCC4-3F85-85B3E0DDCA23}"/>
          </ac:picMkLst>
        </pc:picChg>
        <pc:picChg chg="mod">
          <ac:chgData name="Daphne Chuah" userId="750c03d4-b9ac-4705-9aff-70c8b686d073" providerId="ADAL" clId="{980AD1F5-B4C2-40B4-8E7A-4E799A0E89BD}" dt="2022-07-25T08:30:35.112" v="790"/>
          <ac:picMkLst>
            <pc:docMk/>
            <pc:sldMk cId="2029180088" sldId="2147471107"/>
            <ac:picMk id="150" creationId="{F79EAA7B-8AC5-9379-6F3A-90CAD485707C}"/>
          </ac:picMkLst>
        </pc:picChg>
        <pc:picChg chg="mod">
          <ac:chgData name="Daphne Chuah" userId="750c03d4-b9ac-4705-9aff-70c8b686d073" providerId="ADAL" clId="{980AD1F5-B4C2-40B4-8E7A-4E799A0E89BD}" dt="2022-07-25T08:30:35.112" v="790"/>
          <ac:picMkLst>
            <pc:docMk/>
            <pc:sldMk cId="2029180088" sldId="2147471107"/>
            <ac:picMk id="151" creationId="{ACA58E44-1D43-F55C-5F3C-5DC42F833340}"/>
          </ac:picMkLst>
        </pc:picChg>
        <pc:picChg chg="mod">
          <ac:chgData name="Daphne Chuah" userId="750c03d4-b9ac-4705-9aff-70c8b686d073" providerId="ADAL" clId="{980AD1F5-B4C2-40B4-8E7A-4E799A0E89BD}" dt="2022-07-25T08:30:35.112" v="790"/>
          <ac:picMkLst>
            <pc:docMk/>
            <pc:sldMk cId="2029180088" sldId="2147471107"/>
            <ac:picMk id="152" creationId="{6218F5A1-C423-8711-1179-DC7EAFDE48D9}"/>
          </ac:picMkLst>
        </pc:picChg>
        <pc:picChg chg="mod">
          <ac:chgData name="Daphne Chuah" userId="750c03d4-b9ac-4705-9aff-70c8b686d073" providerId="ADAL" clId="{980AD1F5-B4C2-40B4-8E7A-4E799A0E89BD}" dt="2022-07-25T08:30:35.112" v="790"/>
          <ac:picMkLst>
            <pc:docMk/>
            <pc:sldMk cId="2029180088" sldId="2147471107"/>
            <ac:picMk id="153" creationId="{E1249A9A-5A75-F99C-A79B-B14271755A55}"/>
          </ac:picMkLst>
        </pc:picChg>
        <pc:picChg chg="mod">
          <ac:chgData name="Daphne Chuah" userId="750c03d4-b9ac-4705-9aff-70c8b686d073" providerId="ADAL" clId="{980AD1F5-B4C2-40B4-8E7A-4E799A0E89BD}" dt="2022-07-25T08:33:40.872" v="863"/>
          <ac:picMkLst>
            <pc:docMk/>
            <pc:sldMk cId="2029180088" sldId="2147471107"/>
            <ac:picMk id="163" creationId="{35B65CBA-E810-659E-3A05-8A284FAAEE39}"/>
          </ac:picMkLst>
        </pc:picChg>
        <pc:picChg chg="mod">
          <ac:chgData name="Daphne Chuah" userId="750c03d4-b9ac-4705-9aff-70c8b686d073" providerId="ADAL" clId="{980AD1F5-B4C2-40B4-8E7A-4E799A0E89BD}" dt="2022-07-25T08:33:40.872" v="863"/>
          <ac:picMkLst>
            <pc:docMk/>
            <pc:sldMk cId="2029180088" sldId="2147471107"/>
            <ac:picMk id="164" creationId="{10725DFC-27DA-E16D-4FA6-8E9F6374A7BA}"/>
          </ac:picMkLst>
        </pc:picChg>
        <pc:picChg chg="mod">
          <ac:chgData name="Daphne Chuah" userId="750c03d4-b9ac-4705-9aff-70c8b686d073" providerId="ADAL" clId="{980AD1F5-B4C2-40B4-8E7A-4E799A0E89BD}" dt="2022-07-25T08:33:40.872" v="863"/>
          <ac:picMkLst>
            <pc:docMk/>
            <pc:sldMk cId="2029180088" sldId="2147471107"/>
            <ac:picMk id="165" creationId="{E0ECE010-5673-AD38-6587-AF30480D6D8E}"/>
          </ac:picMkLst>
        </pc:picChg>
        <pc:picChg chg="mod">
          <ac:chgData name="Daphne Chuah" userId="750c03d4-b9ac-4705-9aff-70c8b686d073" providerId="ADAL" clId="{980AD1F5-B4C2-40B4-8E7A-4E799A0E89BD}" dt="2022-07-25T08:33:40.872" v="863"/>
          <ac:picMkLst>
            <pc:docMk/>
            <pc:sldMk cId="2029180088" sldId="2147471107"/>
            <ac:picMk id="166" creationId="{FC2880B6-C39C-51A3-04F7-90F03ABCB4CB}"/>
          </ac:picMkLst>
        </pc:picChg>
        <pc:cxnChg chg="del">
          <ac:chgData name="Daphne Chuah" userId="750c03d4-b9ac-4705-9aff-70c8b686d073" providerId="ADAL" clId="{980AD1F5-B4C2-40B4-8E7A-4E799A0E89BD}" dt="2022-07-25T08:17:02.906" v="467" actId="478"/>
          <ac:cxnSpMkLst>
            <pc:docMk/>
            <pc:sldMk cId="2029180088" sldId="2147471107"/>
            <ac:cxnSpMk id="22" creationId="{4B980E6E-BC10-4134-85C9-865E5E9EC5EA}"/>
          </ac:cxnSpMkLst>
        </pc:cxnChg>
        <pc:cxnChg chg="del">
          <ac:chgData name="Daphne Chuah" userId="750c03d4-b9ac-4705-9aff-70c8b686d073" providerId="ADAL" clId="{980AD1F5-B4C2-40B4-8E7A-4E799A0E89BD}" dt="2022-07-25T08:17:02.906" v="467" actId="478"/>
          <ac:cxnSpMkLst>
            <pc:docMk/>
            <pc:sldMk cId="2029180088" sldId="2147471107"/>
            <ac:cxnSpMk id="23" creationId="{65B5E19D-CB4F-4D62-8E18-1042E8B0E5A1}"/>
          </ac:cxnSpMkLst>
        </pc:cxnChg>
        <pc:cxnChg chg="del">
          <ac:chgData name="Daphne Chuah" userId="750c03d4-b9ac-4705-9aff-70c8b686d073" providerId="ADAL" clId="{980AD1F5-B4C2-40B4-8E7A-4E799A0E89BD}" dt="2022-07-25T08:17:02.906" v="467" actId="478"/>
          <ac:cxnSpMkLst>
            <pc:docMk/>
            <pc:sldMk cId="2029180088" sldId="2147471107"/>
            <ac:cxnSpMk id="24" creationId="{DC733917-33F5-4840-BA90-3538C6C1D0D3}"/>
          </ac:cxnSpMkLst>
        </pc:cxnChg>
        <pc:cxnChg chg="del">
          <ac:chgData name="Daphne Chuah" userId="750c03d4-b9ac-4705-9aff-70c8b686d073" providerId="ADAL" clId="{980AD1F5-B4C2-40B4-8E7A-4E799A0E89BD}" dt="2022-07-25T08:17:02.906" v="467" actId="478"/>
          <ac:cxnSpMkLst>
            <pc:docMk/>
            <pc:sldMk cId="2029180088" sldId="2147471107"/>
            <ac:cxnSpMk id="28" creationId="{083B5FF2-864C-4C67-8390-4772BCD51AB2}"/>
          </ac:cxnSpMkLst>
        </pc:cxnChg>
        <pc:cxnChg chg="del mod">
          <ac:chgData name="Daphne Chuah" userId="750c03d4-b9ac-4705-9aff-70c8b686d073" providerId="ADAL" clId="{980AD1F5-B4C2-40B4-8E7A-4E799A0E89BD}" dt="2022-07-25T08:17:02.906" v="467" actId="478"/>
          <ac:cxnSpMkLst>
            <pc:docMk/>
            <pc:sldMk cId="2029180088" sldId="2147471107"/>
            <ac:cxnSpMk id="30" creationId="{FAD03B78-48D7-49DE-AB96-49CD9DAC08A0}"/>
          </ac:cxnSpMkLst>
        </pc:cxnChg>
        <pc:cxnChg chg="add del mod">
          <ac:chgData name="Daphne Chuah" userId="750c03d4-b9ac-4705-9aff-70c8b686d073" providerId="ADAL" clId="{980AD1F5-B4C2-40B4-8E7A-4E799A0E89BD}" dt="2022-07-25T08:17:50.501" v="478"/>
          <ac:cxnSpMkLst>
            <pc:docMk/>
            <pc:sldMk cId="2029180088" sldId="2147471107"/>
            <ac:cxnSpMk id="47" creationId="{3165367E-3495-8626-BEE8-04ABB2976D07}"/>
          </ac:cxnSpMkLst>
        </pc:cxnChg>
        <pc:cxnChg chg="add del mod">
          <ac:chgData name="Daphne Chuah" userId="750c03d4-b9ac-4705-9aff-70c8b686d073" providerId="ADAL" clId="{980AD1F5-B4C2-40B4-8E7A-4E799A0E89BD}" dt="2022-07-25T08:17:50.501" v="478"/>
          <ac:cxnSpMkLst>
            <pc:docMk/>
            <pc:sldMk cId="2029180088" sldId="2147471107"/>
            <ac:cxnSpMk id="50" creationId="{FEE822E7-75BC-A630-4FA6-D5841D5A7C01}"/>
          </ac:cxnSpMkLst>
        </pc:cxnChg>
        <pc:cxnChg chg="add del mod">
          <ac:chgData name="Daphne Chuah" userId="750c03d4-b9ac-4705-9aff-70c8b686d073" providerId="ADAL" clId="{980AD1F5-B4C2-40B4-8E7A-4E799A0E89BD}" dt="2022-07-25T08:17:50.501" v="478"/>
          <ac:cxnSpMkLst>
            <pc:docMk/>
            <pc:sldMk cId="2029180088" sldId="2147471107"/>
            <ac:cxnSpMk id="51" creationId="{C0D11326-7696-F3F3-8406-36B70686D1EE}"/>
          </ac:cxnSpMkLst>
        </pc:cxnChg>
        <pc:cxnChg chg="add del mod">
          <ac:chgData name="Daphne Chuah" userId="750c03d4-b9ac-4705-9aff-70c8b686d073" providerId="ADAL" clId="{980AD1F5-B4C2-40B4-8E7A-4E799A0E89BD}" dt="2022-07-25T08:17:50.501" v="478"/>
          <ac:cxnSpMkLst>
            <pc:docMk/>
            <pc:sldMk cId="2029180088" sldId="2147471107"/>
            <ac:cxnSpMk id="52" creationId="{69D21D30-9C89-E0BC-2A20-34B1D782F463}"/>
          </ac:cxnSpMkLst>
        </pc:cxnChg>
        <pc:cxnChg chg="add del mod">
          <ac:chgData name="Daphne Chuah" userId="750c03d4-b9ac-4705-9aff-70c8b686d073" providerId="ADAL" clId="{980AD1F5-B4C2-40B4-8E7A-4E799A0E89BD}" dt="2022-07-25T08:17:50.501" v="478"/>
          <ac:cxnSpMkLst>
            <pc:docMk/>
            <pc:sldMk cId="2029180088" sldId="2147471107"/>
            <ac:cxnSpMk id="56" creationId="{102FB886-1067-525F-99CB-08C214D5E18B}"/>
          </ac:cxnSpMkLst>
        </pc:cxnChg>
        <pc:cxnChg chg="add del mod">
          <ac:chgData name="Daphne Chuah" userId="750c03d4-b9ac-4705-9aff-70c8b686d073" providerId="ADAL" clId="{980AD1F5-B4C2-40B4-8E7A-4E799A0E89BD}" dt="2022-07-25T08:17:50.501" v="478"/>
          <ac:cxnSpMkLst>
            <pc:docMk/>
            <pc:sldMk cId="2029180088" sldId="2147471107"/>
            <ac:cxnSpMk id="58" creationId="{2C2CB64E-EB7A-F5A1-3C90-E87DA5FBC76C}"/>
          </ac:cxnSpMkLst>
        </pc:cxnChg>
        <pc:cxnChg chg="add del mod">
          <ac:chgData name="Daphne Chuah" userId="750c03d4-b9ac-4705-9aff-70c8b686d073" providerId="ADAL" clId="{980AD1F5-B4C2-40B4-8E7A-4E799A0E89BD}" dt="2022-07-25T08:17:50.501" v="478"/>
          <ac:cxnSpMkLst>
            <pc:docMk/>
            <pc:sldMk cId="2029180088" sldId="2147471107"/>
            <ac:cxnSpMk id="63" creationId="{A0327A02-DFE3-FD2D-8BD4-8DED8278EFD5}"/>
          </ac:cxnSpMkLst>
        </pc:cxnChg>
        <pc:cxnChg chg="add del mod">
          <ac:chgData name="Daphne Chuah" userId="750c03d4-b9ac-4705-9aff-70c8b686d073" providerId="ADAL" clId="{980AD1F5-B4C2-40B4-8E7A-4E799A0E89BD}" dt="2022-07-25T08:18:35.825" v="484"/>
          <ac:cxnSpMkLst>
            <pc:docMk/>
            <pc:sldMk cId="2029180088" sldId="2147471107"/>
            <ac:cxnSpMk id="72" creationId="{7BA3149D-A8EE-87DF-37AA-FEAE282157EB}"/>
          </ac:cxnSpMkLst>
        </pc:cxnChg>
        <pc:cxnChg chg="add del mod">
          <ac:chgData name="Daphne Chuah" userId="750c03d4-b9ac-4705-9aff-70c8b686d073" providerId="ADAL" clId="{980AD1F5-B4C2-40B4-8E7A-4E799A0E89BD}" dt="2022-07-25T08:18:35.825" v="484"/>
          <ac:cxnSpMkLst>
            <pc:docMk/>
            <pc:sldMk cId="2029180088" sldId="2147471107"/>
            <ac:cxnSpMk id="73" creationId="{7C1C3254-1DC0-C9D3-CBFC-9BCB5176BCF6}"/>
          </ac:cxnSpMkLst>
        </pc:cxnChg>
        <pc:cxnChg chg="add del mod">
          <ac:chgData name="Daphne Chuah" userId="750c03d4-b9ac-4705-9aff-70c8b686d073" providerId="ADAL" clId="{980AD1F5-B4C2-40B4-8E7A-4E799A0E89BD}" dt="2022-07-25T08:18:35.825" v="484"/>
          <ac:cxnSpMkLst>
            <pc:docMk/>
            <pc:sldMk cId="2029180088" sldId="2147471107"/>
            <ac:cxnSpMk id="74" creationId="{079D831D-8333-88E3-89A1-90692AD1C571}"/>
          </ac:cxnSpMkLst>
        </pc:cxnChg>
        <pc:cxnChg chg="add del mod">
          <ac:chgData name="Daphne Chuah" userId="750c03d4-b9ac-4705-9aff-70c8b686d073" providerId="ADAL" clId="{980AD1F5-B4C2-40B4-8E7A-4E799A0E89BD}" dt="2022-07-25T08:18:35.825" v="484"/>
          <ac:cxnSpMkLst>
            <pc:docMk/>
            <pc:sldMk cId="2029180088" sldId="2147471107"/>
            <ac:cxnSpMk id="78" creationId="{9A31FCD4-8856-DD9B-89DF-6BDC4BF7015E}"/>
          </ac:cxnSpMkLst>
        </pc:cxnChg>
        <pc:cxnChg chg="add del mod">
          <ac:chgData name="Daphne Chuah" userId="750c03d4-b9ac-4705-9aff-70c8b686d073" providerId="ADAL" clId="{980AD1F5-B4C2-40B4-8E7A-4E799A0E89BD}" dt="2022-07-25T08:18:35.825" v="484"/>
          <ac:cxnSpMkLst>
            <pc:docMk/>
            <pc:sldMk cId="2029180088" sldId="2147471107"/>
            <ac:cxnSpMk id="80" creationId="{5C33FE66-360A-164A-B6E4-798F76CC68B5}"/>
          </ac:cxnSpMkLst>
        </pc:cxnChg>
        <pc:cxnChg chg="add del mod">
          <ac:chgData name="Daphne Chuah" userId="750c03d4-b9ac-4705-9aff-70c8b686d073" providerId="ADAL" clId="{980AD1F5-B4C2-40B4-8E7A-4E799A0E89BD}" dt="2022-07-25T08:18:33.828" v="483"/>
          <ac:cxnSpMkLst>
            <pc:docMk/>
            <pc:sldMk cId="2029180088" sldId="2147471107"/>
            <ac:cxnSpMk id="94" creationId="{8EC12033-E822-CA6C-33F2-AF7AD275CE56}"/>
          </ac:cxnSpMkLst>
        </pc:cxnChg>
        <pc:cxnChg chg="add del mod">
          <ac:chgData name="Daphne Chuah" userId="750c03d4-b9ac-4705-9aff-70c8b686d073" providerId="ADAL" clId="{980AD1F5-B4C2-40B4-8E7A-4E799A0E89BD}" dt="2022-07-25T08:19:27.787" v="490" actId="478"/>
          <ac:cxnSpMkLst>
            <pc:docMk/>
            <pc:sldMk cId="2029180088" sldId="2147471107"/>
            <ac:cxnSpMk id="105" creationId="{AD2130B1-0490-4A06-3BF0-A0713328118B}"/>
          </ac:cxnSpMkLst>
        </pc:cxnChg>
        <pc:cxnChg chg="add del mod">
          <ac:chgData name="Daphne Chuah" userId="750c03d4-b9ac-4705-9aff-70c8b686d073" providerId="ADAL" clId="{980AD1F5-B4C2-40B4-8E7A-4E799A0E89BD}" dt="2022-07-25T08:19:24.692" v="489" actId="478"/>
          <ac:cxnSpMkLst>
            <pc:docMk/>
            <pc:sldMk cId="2029180088" sldId="2147471107"/>
            <ac:cxnSpMk id="108" creationId="{72542B70-1AD1-C4FB-F056-5AD43061F553}"/>
          </ac:cxnSpMkLst>
        </pc:cxnChg>
        <pc:cxnChg chg="add del mod">
          <ac:chgData name="Daphne Chuah" userId="750c03d4-b9ac-4705-9aff-70c8b686d073" providerId="ADAL" clId="{980AD1F5-B4C2-40B4-8E7A-4E799A0E89BD}" dt="2022-07-25T08:19:24.692" v="489" actId="478"/>
          <ac:cxnSpMkLst>
            <pc:docMk/>
            <pc:sldMk cId="2029180088" sldId="2147471107"/>
            <ac:cxnSpMk id="109" creationId="{10B73591-51BE-1FAF-A424-D6F83A4D15EE}"/>
          </ac:cxnSpMkLst>
        </pc:cxnChg>
        <pc:cxnChg chg="add del mod">
          <ac:chgData name="Daphne Chuah" userId="750c03d4-b9ac-4705-9aff-70c8b686d073" providerId="ADAL" clId="{980AD1F5-B4C2-40B4-8E7A-4E799A0E89BD}" dt="2022-07-25T08:19:24.692" v="489" actId="478"/>
          <ac:cxnSpMkLst>
            <pc:docMk/>
            <pc:sldMk cId="2029180088" sldId="2147471107"/>
            <ac:cxnSpMk id="110" creationId="{99DA32F5-0A66-0384-C660-66453AF27595}"/>
          </ac:cxnSpMkLst>
        </pc:cxnChg>
        <pc:cxnChg chg="add del mod">
          <ac:chgData name="Daphne Chuah" userId="750c03d4-b9ac-4705-9aff-70c8b686d073" providerId="ADAL" clId="{980AD1F5-B4C2-40B4-8E7A-4E799A0E89BD}" dt="2022-07-25T08:19:24.692" v="489" actId="478"/>
          <ac:cxnSpMkLst>
            <pc:docMk/>
            <pc:sldMk cId="2029180088" sldId="2147471107"/>
            <ac:cxnSpMk id="114" creationId="{CB4013AD-AC7C-58E9-88A4-54FA6B1311B8}"/>
          </ac:cxnSpMkLst>
        </pc:cxnChg>
        <pc:cxnChg chg="add del mod">
          <ac:chgData name="Daphne Chuah" userId="750c03d4-b9ac-4705-9aff-70c8b686d073" providerId="ADAL" clId="{980AD1F5-B4C2-40B4-8E7A-4E799A0E89BD}" dt="2022-07-25T08:19:24.692" v="489" actId="478"/>
          <ac:cxnSpMkLst>
            <pc:docMk/>
            <pc:sldMk cId="2029180088" sldId="2147471107"/>
            <ac:cxnSpMk id="116" creationId="{5DD17933-8487-CF88-B43F-2D3C440A15D9}"/>
          </ac:cxnSpMkLst>
        </pc:cxnChg>
        <pc:cxnChg chg="add del mod">
          <ac:chgData name="Daphne Chuah" userId="750c03d4-b9ac-4705-9aff-70c8b686d073" providerId="ADAL" clId="{980AD1F5-B4C2-40B4-8E7A-4E799A0E89BD}" dt="2022-07-25T08:19:24.692" v="489" actId="478"/>
          <ac:cxnSpMkLst>
            <pc:docMk/>
            <pc:sldMk cId="2029180088" sldId="2147471107"/>
            <ac:cxnSpMk id="121" creationId="{FC1673A0-9452-7F33-E32B-B1E23245BFBD}"/>
          </ac:cxnSpMkLst>
        </pc:cxnChg>
        <pc:cxnChg chg="add mod">
          <ac:chgData name="Daphne Chuah" userId="750c03d4-b9ac-4705-9aff-70c8b686d073" providerId="ADAL" clId="{980AD1F5-B4C2-40B4-8E7A-4E799A0E89BD}" dt="2022-07-25T09:05:52.472" v="1060" actId="1035"/>
          <ac:cxnSpMkLst>
            <pc:docMk/>
            <pc:sldMk cId="2029180088" sldId="2147471107"/>
            <ac:cxnSpMk id="130" creationId="{52BEA7E9-16C2-0C6A-E5FF-D0B120A1FA50}"/>
          </ac:cxnSpMkLst>
        </pc:cxnChg>
        <pc:cxnChg chg="add mod">
          <ac:chgData name="Daphne Chuah" userId="750c03d4-b9ac-4705-9aff-70c8b686d073" providerId="ADAL" clId="{980AD1F5-B4C2-40B4-8E7A-4E799A0E89BD}" dt="2022-07-25T09:05:52.472" v="1060" actId="1035"/>
          <ac:cxnSpMkLst>
            <pc:docMk/>
            <pc:sldMk cId="2029180088" sldId="2147471107"/>
            <ac:cxnSpMk id="131" creationId="{25423232-0369-7DEB-9A07-1ECCE835DA4C}"/>
          </ac:cxnSpMkLst>
        </pc:cxnChg>
        <pc:cxnChg chg="add mod">
          <ac:chgData name="Daphne Chuah" userId="750c03d4-b9ac-4705-9aff-70c8b686d073" providerId="ADAL" clId="{980AD1F5-B4C2-40B4-8E7A-4E799A0E89BD}" dt="2022-07-25T09:05:52.472" v="1060" actId="1035"/>
          <ac:cxnSpMkLst>
            <pc:docMk/>
            <pc:sldMk cId="2029180088" sldId="2147471107"/>
            <ac:cxnSpMk id="132" creationId="{A81A628B-E392-18F8-7C1B-E116B66BAD2D}"/>
          </ac:cxnSpMkLst>
        </pc:cxnChg>
        <pc:cxnChg chg="add mod">
          <ac:chgData name="Daphne Chuah" userId="750c03d4-b9ac-4705-9aff-70c8b686d073" providerId="ADAL" clId="{980AD1F5-B4C2-40B4-8E7A-4E799A0E89BD}" dt="2022-07-25T09:05:52.472" v="1060" actId="1035"/>
          <ac:cxnSpMkLst>
            <pc:docMk/>
            <pc:sldMk cId="2029180088" sldId="2147471107"/>
            <ac:cxnSpMk id="136" creationId="{E7B130FE-F703-1041-D6B6-64693C9135A0}"/>
          </ac:cxnSpMkLst>
        </pc:cxnChg>
        <pc:cxnChg chg="add mod">
          <ac:chgData name="Daphne Chuah" userId="750c03d4-b9ac-4705-9aff-70c8b686d073" providerId="ADAL" clId="{980AD1F5-B4C2-40B4-8E7A-4E799A0E89BD}" dt="2022-07-25T09:05:52.472" v="1060" actId="1035"/>
          <ac:cxnSpMkLst>
            <pc:docMk/>
            <pc:sldMk cId="2029180088" sldId="2147471107"/>
            <ac:cxnSpMk id="138" creationId="{CA883ECE-3157-819F-9BE1-25C318AF60C2}"/>
          </ac:cxnSpMkLst>
        </pc:cxnChg>
        <pc:cxnChg chg="add mod">
          <ac:chgData name="Daphne Chuah" userId="750c03d4-b9ac-4705-9aff-70c8b686d073" providerId="ADAL" clId="{980AD1F5-B4C2-40B4-8E7A-4E799A0E89BD}" dt="2022-07-25T09:05:52.472" v="1060" actId="1035"/>
          <ac:cxnSpMkLst>
            <pc:docMk/>
            <pc:sldMk cId="2029180088" sldId="2147471107"/>
            <ac:cxnSpMk id="143" creationId="{4B52C53A-1A9F-20B0-4746-D9DB0B510FC1}"/>
          </ac:cxnSpMkLst>
        </pc:cxnChg>
        <pc:cxnChg chg="add del mod">
          <ac:chgData name="Daphne Chuah" userId="750c03d4-b9ac-4705-9aff-70c8b686d073" providerId="ADAL" clId="{980AD1F5-B4C2-40B4-8E7A-4E799A0E89BD}" dt="2022-07-25T08:30:36.563" v="791"/>
          <ac:cxnSpMkLst>
            <pc:docMk/>
            <pc:sldMk cId="2029180088" sldId="2147471107"/>
            <ac:cxnSpMk id="154" creationId="{7C58C05C-7101-C240-48C5-7801CD9A77F9}"/>
          </ac:cxnSpMkLst>
        </pc:cxnChg>
        <pc:cxnChg chg="add del mod">
          <ac:chgData name="Daphne Chuah" userId="750c03d4-b9ac-4705-9aff-70c8b686d073" providerId="ADAL" clId="{980AD1F5-B4C2-40B4-8E7A-4E799A0E89BD}" dt="2022-07-25T08:30:43.731" v="793"/>
          <ac:cxnSpMkLst>
            <pc:docMk/>
            <pc:sldMk cId="2029180088" sldId="2147471107"/>
            <ac:cxnSpMk id="156" creationId="{F51AF9DA-A9EC-7735-CED6-C5E9BFB23162}"/>
          </ac:cxnSpMkLst>
        </pc:cxnChg>
        <pc:cxnChg chg="add mod">
          <ac:chgData name="Daphne Chuah" userId="750c03d4-b9ac-4705-9aff-70c8b686d073" providerId="ADAL" clId="{980AD1F5-B4C2-40B4-8E7A-4E799A0E89BD}" dt="2022-07-25T08:37:38.404" v="904" actId="1035"/>
          <ac:cxnSpMkLst>
            <pc:docMk/>
            <pc:sldMk cId="2029180088" sldId="2147471107"/>
            <ac:cxnSpMk id="157" creationId="{3B2F610F-38A7-D80B-CF0B-0673CE7DBA5F}"/>
          </ac:cxnSpMkLst>
        </pc:cxnChg>
      </pc:sldChg>
    </pc:docChg>
  </pc:docChgLst>
  <pc:docChgLst>
    <pc:chgData name="Genevieve Soh" userId="bb6dc7b8-5fd2-47b8-a8fb-8c648a081a73" providerId="ADAL" clId="{0C20B89B-EE95-406D-AB61-4E2128A08B0C}"/>
    <pc:docChg chg="modSld">
      <pc:chgData name="Genevieve Soh" userId="bb6dc7b8-5fd2-47b8-a8fb-8c648a081a73" providerId="ADAL" clId="{0C20B89B-EE95-406D-AB61-4E2128A08B0C}" dt="2022-07-25T07:56:41.511" v="5"/>
      <pc:docMkLst>
        <pc:docMk/>
      </pc:docMkLst>
      <pc:sldChg chg="addCm modCm">
        <pc:chgData name="Genevieve Soh" userId="bb6dc7b8-5fd2-47b8-a8fb-8c648a081a73" providerId="ADAL" clId="{0C20B89B-EE95-406D-AB61-4E2128A08B0C}" dt="2022-07-25T07:56:23.631" v="4"/>
        <pc:sldMkLst>
          <pc:docMk/>
          <pc:sldMk cId="466228828" sldId="385"/>
        </pc:sldMkLst>
      </pc:sldChg>
      <pc:sldChg chg="addCm">
        <pc:chgData name="Genevieve Soh" userId="bb6dc7b8-5fd2-47b8-a8fb-8c648a081a73" providerId="ADAL" clId="{0C20B89B-EE95-406D-AB61-4E2128A08B0C}" dt="2022-07-25T07:55:52.178" v="2"/>
        <pc:sldMkLst>
          <pc:docMk/>
          <pc:sldMk cId="3955137257" sldId="2147470984"/>
        </pc:sldMkLst>
      </pc:sldChg>
      <pc:sldChg chg="addCm">
        <pc:chgData name="Genevieve Soh" userId="bb6dc7b8-5fd2-47b8-a8fb-8c648a081a73" providerId="ADAL" clId="{0C20B89B-EE95-406D-AB61-4E2128A08B0C}" dt="2022-07-25T07:56:41.511" v="5"/>
        <pc:sldMkLst>
          <pc:docMk/>
          <pc:sldMk cId="1899527464" sldId="2147471062"/>
        </pc:sldMkLst>
      </pc:sldChg>
      <pc:sldChg chg="addSp mod addCm">
        <pc:chgData name="Genevieve Soh" userId="bb6dc7b8-5fd2-47b8-a8fb-8c648a081a73" providerId="ADAL" clId="{0C20B89B-EE95-406D-AB61-4E2128A08B0C}" dt="2022-07-25T07:55:19.394" v="1"/>
        <pc:sldMkLst>
          <pc:docMk/>
          <pc:sldMk cId="22431195" sldId="2147471095"/>
        </pc:sldMkLst>
        <pc:spChg chg="add">
          <ac:chgData name="Genevieve Soh" userId="bb6dc7b8-5fd2-47b8-a8fb-8c648a081a73" providerId="ADAL" clId="{0C20B89B-EE95-406D-AB61-4E2128A08B0C}" dt="2022-07-25T07:55:08.275" v="0" actId="11529"/>
          <ac:spMkLst>
            <pc:docMk/>
            <pc:sldMk cId="22431195" sldId="2147471095"/>
            <ac:spMk id="2" creationId="{5762F670-00D6-4DEE-68F9-A2AE9501FAE8}"/>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3DFFBB2-E320-4C15-B65C-05E31F3EE4E1}" type="doc">
      <dgm:prSet loTypeId="urn:microsoft.com/office/officeart/2005/8/layout/cycle1" loCatId="cycle" qsTypeId="urn:microsoft.com/office/officeart/2005/8/quickstyle/simple5" qsCatId="simple" csTypeId="urn:microsoft.com/office/officeart/2005/8/colors/accent1_2" csCatId="accent1" phldr="1"/>
      <dgm:spPr/>
      <dgm:t>
        <a:bodyPr/>
        <a:lstStyle/>
        <a:p>
          <a:endParaRPr lang="en-SG"/>
        </a:p>
      </dgm:t>
    </dgm:pt>
    <dgm:pt modelId="{859ACD99-F875-451C-943B-58981F120BD2}">
      <dgm:prSet phldrT="[Text]" custT="1"/>
      <dgm:spPr/>
      <dgm:t>
        <a:bodyPr/>
        <a:lstStyle/>
        <a:p>
          <a:r>
            <a:rPr lang="en-US" sz="1800"/>
            <a:t>Assess feasibility</a:t>
          </a:r>
          <a:endParaRPr lang="en-SG" sz="1800"/>
        </a:p>
      </dgm:t>
    </dgm:pt>
    <dgm:pt modelId="{695BBDBA-D6BE-432C-AA13-73E7DF7DB5B4}" type="parTrans" cxnId="{89471B94-E3B0-4057-9DA2-DA75F149F51F}">
      <dgm:prSet/>
      <dgm:spPr/>
      <dgm:t>
        <a:bodyPr/>
        <a:lstStyle/>
        <a:p>
          <a:endParaRPr lang="en-SG"/>
        </a:p>
      </dgm:t>
    </dgm:pt>
    <dgm:pt modelId="{90DF5333-E1D5-45DB-8F36-988AE16A45A7}" type="sibTrans" cxnId="{89471B94-E3B0-4057-9DA2-DA75F149F51F}">
      <dgm:prSet/>
      <dgm:spPr/>
      <dgm:t>
        <a:bodyPr/>
        <a:lstStyle/>
        <a:p>
          <a:endParaRPr lang="en-SG"/>
        </a:p>
      </dgm:t>
    </dgm:pt>
    <dgm:pt modelId="{E75D7C25-0A69-4EA4-8D70-D9EC9EAF1AC6}">
      <dgm:prSet phldrT="[Text]" custT="1"/>
      <dgm:spPr>
        <a:effectLst>
          <a:outerShdw blurRad="50800" dist="38100" dir="2700000" algn="tl" rotWithShape="0">
            <a:prstClr val="black">
              <a:alpha val="40000"/>
            </a:prstClr>
          </a:outerShdw>
        </a:effectLst>
      </dgm:spPr>
      <dgm:t>
        <a:bodyPr/>
        <a:lstStyle/>
        <a:p>
          <a:r>
            <a:rPr lang="en-US" sz="1800" b="1"/>
            <a:t>Project Development                           </a:t>
          </a:r>
        </a:p>
        <a:p>
          <a:r>
            <a:rPr lang="en-US" sz="1800"/>
            <a:t> </a:t>
          </a:r>
          <a:endParaRPr lang="en-SG" sz="1800"/>
        </a:p>
      </dgm:t>
    </dgm:pt>
    <dgm:pt modelId="{34E6A3AC-4197-4470-8E94-C1B80CD7892A}" type="parTrans" cxnId="{1EDC3214-88EE-403F-8181-3DF6B507710E}">
      <dgm:prSet/>
      <dgm:spPr/>
      <dgm:t>
        <a:bodyPr/>
        <a:lstStyle/>
        <a:p>
          <a:endParaRPr lang="en-SG"/>
        </a:p>
      </dgm:t>
    </dgm:pt>
    <dgm:pt modelId="{4B03F4B4-19F9-42CA-B3AF-EC769431645F}" type="sibTrans" cxnId="{1EDC3214-88EE-403F-8181-3DF6B507710E}">
      <dgm:prSet/>
      <dgm:spPr/>
      <dgm:t>
        <a:bodyPr/>
        <a:lstStyle/>
        <a:p>
          <a:endParaRPr lang="en-SG"/>
        </a:p>
      </dgm:t>
    </dgm:pt>
    <dgm:pt modelId="{89FF51DB-F560-4CFF-A862-177CE97D8646}">
      <dgm:prSet phldrT="[Text]" custT="1"/>
      <dgm:spPr/>
      <dgm:t>
        <a:bodyPr/>
        <a:lstStyle/>
        <a:p>
          <a:r>
            <a:rPr lang="en-US" sz="1800"/>
            <a:t>Validation/</a:t>
          </a:r>
        </a:p>
        <a:p>
          <a:r>
            <a:rPr lang="en-US" sz="1800"/>
            <a:t>Verification </a:t>
          </a:r>
          <a:endParaRPr lang="en-SG" sz="1800"/>
        </a:p>
      </dgm:t>
    </dgm:pt>
    <dgm:pt modelId="{538B2B57-A819-44EC-98C8-74805845F045}" type="parTrans" cxnId="{1C735896-8637-4980-9B1F-AB5A5C4DE078}">
      <dgm:prSet/>
      <dgm:spPr/>
      <dgm:t>
        <a:bodyPr/>
        <a:lstStyle/>
        <a:p>
          <a:endParaRPr lang="en-SG"/>
        </a:p>
      </dgm:t>
    </dgm:pt>
    <dgm:pt modelId="{3E6B5253-E7BF-4BEB-8943-F0F713E2732C}" type="sibTrans" cxnId="{1C735896-8637-4980-9B1F-AB5A5C4DE078}">
      <dgm:prSet/>
      <dgm:spPr/>
      <dgm:t>
        <a:bodyPr/>
        <a:lstStyle/>
        <a:p>
          <a:endParaRPr lang="en-SG"/>
        </a:p>
      </dgm:t>
    </dgm:pt>
    <dgm:pt modelId="{28C7E90F-409D-412B-A4CB-B1E024CA13FE}">
      <dgm:prSet phldrT="[Text]" custT="1"/>
      <dgm:spPr>
        <a:effectLst>
          <a:outerShdw blurRad="50800" dist="38100" dir="2700000" algn="tl" rotWithShape="0">
            <a:prstClr val="black">
              <a:alpha val="40000"/>
            </a:prstClr>
          </a:outerShdw>
        </a:effectLst>
      </dgm:spPr>
      <dgm:t>
        <a:bodyPr/>
        <a:lstStyle/>
        <a:p>
          <a:r>
            <a:rPr lang="en-US" sz="1800" b="1" dirty="0"/>
            <a:t>Trade credits</a:t>
          </a:r>
          <a:endParaRPr lang="en-SG" sz="1800" b="1" dirty="0"/>
        </a:p>
      </dgm:t>
    </dgm:pt>
    <dgm:pt modelId="{0FB5448F-D17B-40CD-A94C-02CC0BB33A64}" type="parTrans" cxnId="{ED239F74-5F43-48D5-A0B2-A502DD9F1EFE}">
      <dgm:prSet/>
      <dgm:spPr/>
      <dgm:t>
        <a:bodyPr/>
        <a:lstStyle/>
        <a:p>
          <a:endParaRPr lang="en-SG"/>
        </a:p>
      </dgm:t>
    </dgm:pt>
    <dgm:pt modelId="{18BE7855-E5DD-4069-887C-9AC47CA376BC}" type="sibTrans" cxnId="{ED239F74-5F43-48D5-A0B2-A502DD9F1EFE}">
      <dgm:prSet/>
      <dgm:spPr/>
      <dgm:t>
        <a:bodyPr/>
        <a:lstStyle/>
        <a:p>
          <a:endParaRPr lang="en-SG"/>
        </a:p>
      </dgm:t>
    </dgm:pt>
    <dgm:pt modelId="{881FE34F-2824-43BE-A1BD-F1B03282BF2C}">
      <dgm:prSet phldrT="[Text]" custT="1"/>
      <dgm:spPr>
        <a:effectLst>
          <a:outerShdw blurRad="50800" dist="38100" dir="2700000" algn="tl" rotWithShape="0">
            <a:prstClr val="black">
              <a:alpha val="40000"/>
            </a:prstClr>
          </a:outerShdw>
        </a:effectLst>
      </dgm:spPr>
      <dgm:t>
        <a:bodyPr/>
        <a:lstStyle/>
        <a:p>
          <a:r>
            <a:rPr lang="en-US" sz="1800" b="1"/>
            <a:t>Finance projects                    </a:t>
          </a:r>
          <a:endParaRPr lang="en-SG" sz="1800" b="1"/>
        </a:p>
      </dgm:t>
    </dgm:pt>
    <dgm:pt modelId="{F5E9A061-AA80-42C6-8091-AA5E46AF0606}" type="sibTrans" cxnId="{1BE47848-2D0E-40BD-B511-9A08677C2B59}">
      <dgm:prSet/>
      <dgm:spPr/>
      <dgm:t>
        <a:bodyPr/>
        <a:lstStyle/>
        <a:p>
          <a:endParaRPr lang="en-SG"/>
        </a:p>
      </dgm:t>
    </dgm:pt>
    <dgm:pt modelId="{CDEE4386-D090-4681-A34F-22D2444D3DD7}" type="parTrans" cxnId="{1BE47848-2D0E-40BD-B511-9A08677C2B59}">
      <dgm:prSet/>
      <dgm:spPr/>
      <dgm:t>
        <a:bodyPr/>
        <a:lstStyle/>
        <a:p>
          <a:endParaRPr lang="en-SG"/>
        </a:p>
      </dgm:t>
    </dgm:pt>
    <dgm:pt modelId="{4FB0A680-BC75-4A4C-8CEF-78D136703A4A}" type="pres">
      <dgm:prSet presAssocID="{53DFFBB2-E320-4C15-B65C-05E31F3EE4E1}" presName="cycle" presStyleCnt="0">
        <dgm:presLayoutVars>
          <dgm:dir/>
          <dgm:resizeHandles val="exact"/>
        </dgm:presLayoutVars>
      </dgm:prSet>
      <dgm:spPr/>
    </dgm:pt>
    <dgm:pt modelId="{ABEFB4B0-FC0D-4DFB-A381-6C0C3A970479}" type="pres">
      <dgm:prSet presAssocID="{881FE34F-2824-43BE-A1BD-F1B03282BF2C}" presName="dummy" presStyleCnt="0"/>
      <dgm:spPr/>
    </dgm:pt>
    <dgm:pt modelId="{7AD9DE1E-30A7-43D8-AC7C-0EBC0FFD287E}" type="pres">
      <dgm:prSet presAssocID="{881FE34F-2824-43BE-A1BD-F1B03282BF2C}" presName="node" presStyleLbl="revTx" presStyleIdx="0" presStyleCnt="5">
        <dgm:presLayoutVars>
          <dgm:bulletEnabled val="1"/>
        </dgm:presLayoutVars>
      </dgm:prSet>
      <dgm:spPr/>
    </dgm:pt>
    <dgm:pt modelId="{837814AD-5BD0-4642-9701-FD085A8AF658}" type="pres">
      <dgm:prSet presAssocID="{F5E9A061-AA80-42C6-8091-AA5E46AF0606}" presName="sibTrans" presStyleLbl="node1" presStyleIdx="0" presStyleCnt="5"/>
      <dgm:spPr/>
    </dgm:pt>
    <dgm:pt modelId="{12B5B4E8-752C-4EF4-9239-EE77C8A7EA3B}" type="pres">
      <dgm:prSet presAssocID="{859ACD99-F875-451C-943B-58981F120BD2}" presName="dummy" presStyleCnt="0"/>
      <dgm:spPr/>
    </dgm:pt>
    <dgm:pt modelId="{EBDC0166-2205-4020-8B43-607256DF9201}" type="pres">
      <dgm:prSet presAssocID="{859ACD99-F875-451C-943B-58981F120BD2}" presName="node" presStyleLbl="revTx" presStyleIdx="1" presStyleCnt="5">
        <dgm:presLayoutVars>
          <dgm:bulletEnabled val="1"/>
        </dgm:presLayoutVars>
      </dgm:prSet>
      <dgm:spPr/>
    </dgm:pt>
    <dgm:pt modelId="{A50957DC-1AB1-46F7-AAB6-DBC36BE7CC58}" type="pres">
      <dgm:prSet presAssocID="{90DF5333-E1D5-45DB-8F36-988AE16A45A7}" presName="sibTrans" presStyleLbl="node1" presStyleIdx="1" presStyleCnt="5"/>
      <dgm:spPr/>
    </dgm:pt>
    <dgm:pt modelId="{92B18B1B-E437-48BA-ACB8-31A590218EA1}" type="pres">
      <dgm:prSet presAssocID="{E75D7C25-0A69-4EA4-8D70-D9EC9EAF1AC6}" presName="dummy" presStyleCnt="0"/>
      <dgm:spPr/>
    </dgm:pt>
    <dgm:pt modelId="{93E0529A-7DE2-4CF5-9ABA-417B46CB4A0E}" type="pres">
      <dgm:prSet presAssocID="{E75D7C25-0A69-4EA4-8D70-D9EC9EAF1AC6}" presName="node" presStyleLbl="revTx" presStyleIdx="2" presStyleCnt="5" custScaleX="198174">
        <dgm:presLayoutVars>
          <dgm:bulletEnabled val="1"/>
        </dgm:presLayoutVars>
      </dgm:prSet>
      <dgm:spPr/>
    </dgm:pt>
    <dgm:pt modelId="{E087A10E-4F07-41DA-9770-4532C5691E5D}" type="pres">
      <dgm:prSet presAssocID="{4B03F4B4-19F9-42CA-B3AF-EC769431645F}" presName="sibTrans" presStyleLbl="node1" presStyleIdx="2" presStyleCnt="5"/>
      <dgm:spPr/>
    </dgm:pt>
    <dgm:pt modelId="{8FDDD135-1314-4213-8922-75D245BB04A1}" type="pres">
      <dgm:prSet presAssocID="{89FF51DB-F560-4CFF-A862-177CE97D8646}" presName="dummy" presStyleCnt="0"/>
      <dgm:spPr/>
    </dgm:pt>
    <dgm:pt modelId="{4430FEB8-409C-4546-BE20-2BD3E6E4CDB8}" type="pres">
      <dgm:prSet presAssocID="{89FF51DB-F560-4CFF-A862-177CE97D8646}" presName="node" presStyleLbl="revTx" presStyleIdx="3" presStyleCnt="5" custScaleX="142076">
        <dgm:presLayoutVars>
          <dgm:bulletEnabled val="1"/>
        </dgm:presLayoutVars>
      </dgm:prSet>
      <dgm:spPr/>
    </dgm:pt>
    <dgm:pt modelId="{457642FB-EB51-4C82-9F65-2174DC9B762F}" type="pres">
      <dgm:prSet presAssocID="{3E6B5253-E7BF-4BEB-8943-F0F713E2732C}" presName="sibTrans" presStyleLbl="node1" presStyleIdx="3" presStyleCnt="5"/>
      <dgm:spPr/>
    </dgm:pt>
    <dgm:pt modelId="{97DEC19E-2FF8-4B47-B0DB-6831FDE9C149}" type="pres">
      <dgm:prSet presAssocID="{28C7E90F-409D-412B-A4CB-B1E024CA13FE}" presName="dummy" presStyleCnt="0"/>
      <dgm:spPr/>
    </dgm:pt>
    <dgm:pt modelId="{24C29B2B-78FC-499B-BE3C-16535245727B}" type="pres">
      <dgm:prSet presAssocID="{28C7E90F-409D-412B-A4CB-B1E024CA13FE}" presName="node" presStyleLbl="revTx" presStyleIdx="4" presStyleCnt="5">
        <dgm:presLayoutVars>
          <dgm:bulletEnabled val="1"/>
        </dgm:presLayoutVars>
      </dgm:prSet>
      <dgm:spPr/>
    </dgm:pt>
    <dgm:pt modelId="{91250A46-E50B-4975-B0E7-23995F301129}" type="pres">
      <dgm:prSet presAssocID="{18BE7855-E5DD-4069-887C-9AC47CA376BC}" presName="sibTrans" presStyleLbl="node1" presStyleIdx="4" presStyleCnt="5"/>
      <dgm:spPr/>
    </dgm:pt>
  </dgm:ptLst>
  <dgm:cxnLst>
    <dgm:cxn modelId="{A1CD190A-2B3E-491A-B95E-F508B2CE55E4}" type="presOf" srcId="{3E6B5253-E7BF-4BEB-8943-F0F713E2732C}" destId="{457642FB-EB51-4C82-9F65-2174DC9B762F}" srcOrd="0" destOrd="0" presId="urn:microsoft.com/office/officeart/2005/8/layout/cycle1"/>
    <dgm:cxn modelId="{CB9BC40E-52C8-40E8-961D-E77ED865D777}" type="presOf" srcId="{89FF51DB-F560-4CFF-A862-177CE97D8646}" destId="{4430FEB8-409C-4546-BE20-2BD3E6E4CDB8}" srcOrd="0" destOrd="0" presId="urn:microsoft.com/office/officeart/2005/8/layout/cycle1"/>
    <dgm:cxn modelId="{1EDC3214-88EE-403F-8181-3DF6B507710E}" srcId="{53DFFBB2-E320-4C15-B65C-05E31F3EE4E1}" destId="{E75D7C25-0A69-4EA4-8D70-D9EC9EAF1AC6}" srcOrd="2" destOrd="0" parTransId="{34E6A3AC-4197-4470-8E94-C1B80CD7892A}" sibTransId="{4B03F4B4-19F9-42CA-B3AF-EC769431645F}"/>
    <dgm:cxn modelId="{E0BE5F2D-1654-49F2-860A-2AC9BFEBCCDF}" type="presOf" srcId="{F5E9A061-AA80-42C6-8091-AA5E46AF0606}" destId="{837814AD-5BD0-4642-9701-FD085A8AF658}" srcOrd="0" destOrd="0" presId="urn:microsoft.com/office/officeart/2005/8/layout/cycle1"/>
    <dgm:cxn modelId="{1BE47848-2D0E-40BD-B511-9A08677C2B59}" srcId="{53DFFBB2-E320-4C15-B65C-05E31F3EE4E1}" destId="{881FE34F-2824-43BE-A1BD-F1B03282BF2C}" srcOrd="0" destOrd="0" parTransId="{CDEE4386-D090-4681-A34F-22D2444D3DD7}" sibTransId="{F5E9A061-AA80-42C6-8091-AA5E46AF0606}"/>
    <dgm:cxn modelId="{ED239F74-5F43-48D5-A0B2-A502DD9F1EFE}" srcId="{53DFFBB2-E320-4C15-B65C-05E31F3EE4E1}" destId="{28C7E90F-409D-412B-A4CB-B1E024CA13FE}" srcOrd="4" destOrd="0" parTransId="{0FB5448F-D17B-40CD-A94C-02CC0BB33A64}" sibTransId="{18BE7855-E5DD-4069-887C-9AC47CA376BC}"/>
    <dgm:cxn modelId="{56196C5A-7458-46FC-AC5A-423CA81A71E8}" type="presOf" srcId="{E75D7C25-0A69-4EA4-8D70-D9EC9EAF1AC6}" destId="{93E0529A-7DE2-4CF5-9ABA-417B46CB4A0E}" srcOrd="0" destOrd="0" presId="urn:microsoft.com/office/officeart/2005/8/layout/cycle1"/>
    <dgm:cxn modelId="{A69E0E7F-2AA2-43E7-823C-9AEF9713E97B}" type="presOf" srcId="{881FE34F-2824-43BE-A1BD-F1B03282BF2C}" destId="{7AD9DE1E-30A7-43D8-AC7C-0EBC0FFD287E}" srcOrd="0" destOrd="0" presId="urn:microsoft.com/office/officeart/2005/8/layout/cycle1"/>
    <dgm:cxn modelId="{89471B94-E3B0-4057-9DA2-DA75F149F51F}" srcId="{53DFFBB2-E320-4C15-B65C-05E31F3EE4E1}" destId="{859ACD99-F875-451C-943B-58981F120BD2}" srcOrd="1" destOrd="0" parTransId="{695BBDBA-D6BE-432C-AA13-73E7DF7DB5B4}" sibTransId="{90DF5333-E1D5-45DB-8F36-988AE16A45A7}"/>
    <dgm:cxn modelId="{1C735896-8637-4980-9B1F-AB5A5C4DE078}" srcId="{53DFFBB2-E320-4C15-B65C-05E31F3EE4E1}" destId="{89FF51DB-F560-4CFF-A862-177CE97D8646}" srcOrd="3" destOrd="0" parTransId="{538B2B57-A819-44EC-98C8-74805845F045}" sibTransId="{3E6B5253-E7BF-4BEB-8943-F0F713E2732C}"/>
    <dgm:cxn modelId="{626CEC9F-7AE9-4515-858E-80AE47C1919A}" type="presOf" srcId="{28C7E90F-409D-412B-A4CB-B1E024CA13FE}" destId="{24C29B2B-78FC-499B-BE3C-16535245727B}" srcOrd="0" destOrd="0" presId="urn:microsoft.com/office/officeart/2005/8/layout/cycle1"/>
    <dgm:cxn modelId="{57D593A3-9086-459F-9D1C-7225BE21FE01}" type="presOf" srcId="{18BE7855-E5DD-4069-887C-9AC47CA376BC}" destId="{91250A46-E50B-4975-B0E7-23995F301129}" srcOrd="0" destOrd="0" presId="urn:microsoft.com/office/officeart/2005/8/layout/cycle1"/>
    <dgm:cxn modelId="{B8CCDFAC-436C-42E2-94EA-215E3AF14CD3}" type="presOf" srcId="{90DF5333-E1D5-45DB-8F36-988AE16A45A7}" destId="{A50957DC-1AB1-46F7-AAB6-DBC36BE7CC58}" srcOrd="0" destOrd="0" presId="urn:microsoft.com/office/officeart/2005/8/layout/cycle1"/>
    <dgm:cxn modelId="{654501BB-8517-4452-AC47-ABD594E3343D}" type="presOf" srcId="{859ACD99-F875-451C-943B-58981F120BD2}" destId="{EBDC0166-2205-4020-8B43-607256DF9201}" srcOrd="0" destOrd="0" presId="urn:microsoft.com/office/officeart/2005/8/layout/cycle1"/>
    <dgm:cxn modelId="{62392CCD-9DE5-40E0-B56D-D8A1C5AA9F5F}" type="presOf" srcId="{4B03F4B4-19F9-42CA-B3AF-EC769431645F}" destId="{E087A10E-4F07-41DA-9770-4532C5691E5D}" srcOrd="0" destOrd="0" presId="urn:microsoft.com/office/officeart/2005/8/layout/cycle1"/>
    <dgm:cxn modelId="{8F2162FE-7B57-4384-8501-BD7EA59C5A29}" type="presOf" srcId="{53DFFBB2-E320-4C15-B65C-05E31F3EE4E1}" destId="{4FB0A680-BC75-4A4C-8CEF-78D136703A4A}" srcOrd="0" destOrd="0" presId="urn:microsoft.com/office/officeart/2005/8/layout/cycle1"/>
    <dgm:cxn modelId="{B986F738-353C-4AC0-A8A0-AE137F601F57}" type="presParOf" srcId="{4FB0A680-BC75-4A4C-8CEF-78D136703A4A}" destId="{ABEFB4B0-FC0D-4DFB-A381-6C0C3A970479}" srcOrd="0" destOrd="0" presId="urn:microsoft.com/office/officeart/2005/8/layout/cycle1"/>
    <dgm:cxn modelId="{99CEA367-9824-4DB9-B96B-246E736113A3}" type="presParOf" srcId="{4FB0A680-BC75-4A4C-8CEF-78D136703A4A}" destId="{7AD9DE1E-30A7-43D8-AC7C-0EBC0FFD287E}" srcOrd="1" destOrd="0" presId="urn:microsoft.com/office/officeart/2005/8/layout/cycle1"/>
    <dgm:cxn modelId="{9ACEE86C-81BA-4ED6-B7F3-6F28FEDFBC78}" type="presParOf" srcId="{4FB0A680-BC75-4A4C-8CEF-78D136703A4A}" destId="{837814AD-5BD0-4642-9701-FD085A8AF658}" srcOrd="2" destOrd="0" presId="urn:microsoft.com/office/officeart/2005/8/layout/cycle1"/>
    <dgm:cxn modelId="{4BA01887-82B6-4A64-953A-4C05FF91F8C1}" type="presParOf" srcId="{4FB0A680-BC75-4A4C-8CEF-78D136703A4A}" destId="{12B5B4E8-752C-4EF4-9239-EE77C8A7EA3B}" srcOrd="3" destOrd="0" presId="urn:microsoft.com/office/officeart/2005/8/layout/cycle1"/>
    <dgm:cxn modelId="{1B323EEC-9C64-479B-B8B5-9941B1474A3E}" type="presParOf" srcId="{4FB0A680-BC75-4A4C-8CEF-78D136703A4A}" destId="{EBDC0166-2205-4020-8B43-607256DF9201}" srcOrd="4" destOrd="0" presId="urn:microsoft.com/office/officeart/2005/8/layout/cycle1"/>
    <dgm:cxn modelId="{896903A7-63EE-402E-9C04-FFA78AB4E29E}" type="presParOf" srcId="{4FB0A680-BC75-4A4C-8CEF-78D136703A4A}" destId="{A50957DC-1AB1-46F7-AAB6-DBC36BE7CC58}" srcOrd="5" destOrd="0" presId="urn:microsoft.com/office/officeart/2005/8/layout/cycle1"/>
    <dgm:cxn modelId="{1410AF87-CD3A-4212-8479-82328D23E234}" type="presParOf" srcId="{4FB0A680-BC75-4A4C-8CEF-78D136703A4A}" destId="{92B18B1B-E437-48BA-ACB8-31A590218EA1}" srcOrd="6" destOrd="0" presId="urn:microsoft.com/office/officeart/2005/8/layout/cycle1"/>
    <dgm:cxn modelId="{5E66588E-9037-4913-8B69-2084363F5E0A}" type="presParOf" srcId="{4FB0A680-BC75-4A4C-8CEF-78D136703A4A}" destId="{93E0529A-7DE2-4CF5-9ABA-417B46CB4A0E}" srcOrd="7" destOrd="0" presId="urn:microsoft.com/office/officeart/2005/8/layout/cycle1"/>
    <dgm:cxn modelId="{56E4665D-DB7C-4C63-9C1C-10472C8231C4}" type="presParOf" srcId="{4FB0A680-BC75-4A4C-8CEF-78D136703A4A}" destId="{E087A10E-4F07-41DA-9770-4532C5691E5D}" srcOrd="8" destOrd="0" presId="urn:microsoft.com/office/officeart/2005/8/layout/cycle1"/>
    <dgm:cxn modelId="{8F6FDB0F-D334-4DF9-A3A4-40421767C779}" type="presParOf" srcId="{4FB0A680-BC75-4A4C-8CEF-78D136703A4A}" destId="{8FDDD135-1314-4213-8922-75D245BB04A1}" srcOrd="9" destOrd="0" presId="urn:microsoft.com/office/officeart/2005/8/layout/cycle1"/>
    <dgm:cxn modelId="{73159985-F360-4FE3-864C-A4176D938558}" type="presParOf" srcId="{4FB0A680-BC75-4A4C-8CEF-78D136703A4A}" destId="{4430FEB8-409C-4546-BE20-2BD3E6E4CDB8}" srcOrd="10" destOrd="0" presId="urn:microsoft.com/office/officeart/2005/8/layout/cycle1"/>
    <dgm:cxn modelId="{A4CDE7E7-E334-4047-82E5-21CEA989E579}" type="presParOf" srcId="{4FB0A680-BC75-4A4C-8CEF-78D136703A4A}" destId="{457642FB-EB51-4C82-9F65-2174DC9B762F}" srcOrd="11" destOrd="0" presId="urn:microsoft.com/office/officeart/2005/8/layout/cycle1"/>
    <dgm:cxn modelId="{E0C657F8-0A1A-4A24-9817-86D6A50B6566}" type="presParOf" srcId="{4FB0A680-BC75-4A4C-8CEF-78D136703A4A}" destId="{97DEC19E-2FF8-4B47-B0DB-6831FDE9C149}" srcOrd="12" destOrd="0" presId="urn:microsoft.com/office/officeart/2005/8/layout/cycle1"/>
    <dgm:cxn modelId="{77AADEEA-AA59-45A5-94E6-8B7AC9174363}" type="presParOf" srcId="{4FB0A680-BC75-4A4C-8CEF-78D136703A4A}" destId="{24C29B2B-78FC-499B-BE3C-16535245727B}" srcOrd="13" destOrd="0" presId="urn:microsoft.com/office/officeart/2005/8/layout/cycle1"/>
    <dgm:cxn modelId="{81A0EF98-219E-467C-933A-BEC62F94EA1A}" type="presParOf" srcId="{4FB0A680-BC75-4A4C-8CEF-78D136703A4A}" destId="{91250A46-E50B-4975-B0E7-23995F301129}" srcOrd="14" destOrd="0" presId="urn:microsoft.com/office/officeart/2005/8/layout/cycle1"/>
  </dgm:cxnLst>
  <dgm:bg/>
  <dgm:whole/>
  <dgm:extLst>
    <a:ext uri="http://schemas.microsoft.com/office/drawing/2008/diagram">
      <dsp:dataModelExt xmlns:dsp="http://schemas.microsoft.com/office/drawing/2008/diagram" relId="rId1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D9DE1E-30A7-43D8-AC7C-0EBC0FFD287E}">
      <dsp:nvSpPr>
        <dsp:cNvPr id="0" name=""/>
        <dsp:cNvSpPr/>
      </dsp:nvSpPr>
      <dsp:spPr>
        <a:xfrm>
          <a:off x="5141455" y="39975"/>
          <a:ext cx="1353346" cy="1353346"/>
        </a:xfrm>
        <a:prstGeom prst="rect">
          <a:avLst/>
        </a:prstGeom>
        <a:noFill/>
        <a:ln>
          <a:noFill/>
        </a:ln>
        <a:effectLst>
          <a:outerShdw blurRad="50800" dist="38100" dir="2700000" algn="tl" rotWithShape="0">
            <a:prstClr val="black">
              <a:alpha val="40000"/>
            </a:prstClr>
          </a:outerShdw>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b="1" kern="1200"/>
            <a:t>Finance projects                    </a:t>
          </a:r>
          <a:endParaRPr lang="en-SG" sz="1800" b="1" kern="1200"/>
        </a:p>
      </dsp:txBody>
      <dsp:txXfrm>
        <a:off x="5141455" y="39975"/>
        <a:ext cx="1353346" cy="1353346"/>
      </dsp:txXfrm>
    </dsp:sp>
    <dsp:sp modelId="{837814AD-5BD0-4642-9701-FD085A8AF658}">
      <dsp:nvSpPr>
        <dsp:cNvPr id="0" name=""/>
        <dsp:cNvSpPr/>
      </dsp:nvSpPr>
      <dsp:spPr>
        <a:xfrm>
          <a:off x="1953915" y="344"/>
          <a:ext cx="5079097" cy="5079097"/>
        </a:xfrm>
        <a:prstGeom prst="circularArrow">
          <a:avLst>
            <a:gd name="adj1" fmla="val 5196"/>
            <a:gd name="adj2" fmla="val 335600"/>
            <a:gd name="adj3" fmla="val 21294519"/>
            <a:gd name="adj4" fmla="val 19765120"/>
            <a:gd name="adj5" fmla="val 6062"/>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EBDC0166-2205-4020-8B43-607256DF9201}">
      <dsp:nvSpPr>
        <dsp:cNvPr id="0" name=""/>
        <dsp:cNvSpPr/>
      </dsp:nvSpPr>
      <dsp:spPr>
        <a:xfrm>
          <a:off x="5960143" y="2559637"/>
          <a:ext cx="1353346" cy="13533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a:t>Assess feasibility</a:t>
          </a:r>
          <a:endParaRPr lang="en-SG" sz="1800" kern="1200"/>
        </a:p>
      </dsp:txBody>
      <dsp:txXfrm>
        <a:off x="5960143" y="2559637"/>
        <a:ext cx="1353346" cy="1353346"/>
      </dsp:txXfrm>
    </dsp:sp>
    <dsp:sp modelId="{A50957DC-1AB1-46F7-AAB6-DBC36BE7CC58}">
      <dsp:nvSpPr>
        <dsp:cNvPr id="0" name=""/>
        <dsp:cNvSpPr/>
      </dsp:nvSpPr>
      <dsp:spPr>
        <a:xfrm>
          <a:off x="1953915" y="344"/>
          <a:ext cx="5079097" cy="5079097"/>
        </a:xfrm>
        <a:prstGeom prst="circularArrow">
          <a:avLst>
            <a:gd name="adj1" fmla="val 5196"/>
            <a:gd name="adj2" fmla="val 335600"/>
            <a:gd name="adj3" fmla="val 2873517"/>
            <a:gd name="adj4" fmla="val 2252218"/>
            <a:gd name="adj5" fmla="val 6062"/>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93E0529A-7DE2-4CF5-9ABA-417B46CB4A0E}">
      <dsp:nvSpPr>
        <dsp:cNvPr id="0" name=""/>
        <dsp:cNvSpPr/>
      </dsp:nvSpPr>
      <dsp:spPr>
        <a:xfrm>
          <a:off x="3152473" y="4116874"/>
          <a:ext cx="2681981" cy="1353346"/>
        </a:xfrm>
        <a:prstGeom prst="rect">
          <a:avLst/>
        </a:prstGeom>
        <a:noFill/>
        <a:ln>
          <a:noFill/>
        </a:ln>
        <a:effectLst>
          <a:outerShdw blurRad="50800" dist="38100" dir="2700000" algn="tl" rotWithShape="0">
            <a:prstClr val="black">
              <a:alpha val="40000"/>
            </a:prstClr>
          </a:outerShdw>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b="1" kern="1200"/>
            <a:t>Project Development                           </a:t>
          </a:r>
        </a:p>
        <a:p>
          <a:pPr marL="0" lvl="0" indent="0" algn="ctr" defTabSz="800100">
            <a:lnSpc>
              <a:spcPct val="90000"/>
            </a:lnSpc>
            <a:spcBef>
              <a:spcPct val="0"/>
            </a:spcBef>
            <a:spcAft>
              <a:spcPct val="35000"/>
            </a:spcAft>
            <a:buNone/>
          </a:pPr>
          <a:r>
            <a:rPr lang="en-US" sz="1800" kern="1200"/>
            <a:t> </a:t>
          </a:r>
          <a:endParaRPr lang="en-SG" sz="1800" kern="1200"/>
        </a:p>
      </dsp:txBody>
      <dsp:txXfrm>
        <a:off x="3152473" y="4116874"/>
        <a:ext cx="2681981" cy="1353346"/>
      </dsp:txXfrm>
    </dsp:sp>
    <dsp:sp modelId="{E087A10E-4F07-41DA-9770-4532C5691E5D}">
      <dsp:nvSpPr>
        <dsp:cNvPr id="0" name=""/>
        <dsp:cNvSpPr/>
      </dsp:nvSpPr>
      <dsp:spPr>
        <a:xfrm>
          <a:off x="1953915" y="344"/>
          <a:ext cx="5079097" cy="5079097"/>
        </a:xfrm>
        <a:prstGeom prst="circularArrow">
          <a:avLst>
            <a:gd name="adj1" fmla="val 5196"/>
            <a:gd name="adj2" fmla="val 335600"/>
            <a:gd name="adj3" fmla="val 8212183"/>
            <a:gd name="adj4" fmla="val 7590884"/>
            <a:gd name="adj5" fmla="val 6062"/>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4430FEB8-409C-4546-BE20-2BD3E6E4CDB8}">
      <dsp:nvSpPr>
        <dsp:cNvPr id="0" name=""/>
        <dsp:cNvSpPr/>
      </dsp:nvSpPr>
      <dsp:spPr>
        <a:xfrm>
          <a:off x="1388720" y="2559637"/>
          <a:ext cx="1922780" cy="13533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a:t>Validation/</a:t>
          </a:r>
        </a:p>
        <a:p>
          <a:pPr marL="0" lvl="0" indent="0" algn="ctr" defTabSz="800100">
            <a:lnSpc>
              <a:spcPct val="90000"/>
            </a:lnSpc>
            <a:spcBef>
              <a:spcPct val="0"/>
            </a:spcBef>
            <a:spcAft>
              <a:spcPct val="35000"/>
            </a:spcAft>
            <a:buNone/>
          </a:pPr>
          <a:r>
            <a:rPr lang="en-US" sz="1800" kern="1200"/>
            <a:t>Verification </a:t>
          </a:r>
          <a:endParaRPr lang="en-SG" sz="1800" kern="1200"/>
        </a:p>
      </dsp:txBody>
      <dsp:txXfrm>
        <a:off x="1388720" y="2559637"/>
        <a:ext cx="1922780" cy="1353346"/>
      </dsp:txXfrm>
    </dsp:sp>
    <dsp:sp modelId="{457642FB-EB51-4C82-9F65-2174DC9B762F}">
      <dsp:nvSpPr>
        <dsp:cNvPr id="0" name=""/>
        <dsp:cNvSpPr/>
      </dsp:nvSpPr>
      <dsp:spPr>
        <a:xfrm>
          <a:off x="1953915" y="344"/>
          <a:ext cx="5079097" cy="5079097"/>
        </a:xfrm>
        <a:prstGeom prst="circularArrow">
          <a:avLst>
            <a:gd name="adj1" fmla="val 5196"/>
            <a:gd name="adj2" fmla="val 335600"/>
            <a:gd name="adj3" fmla="val 12299280"/>
            <a:gd name="adj4" fmla="val 10769882"/>
            <a:gd name="adj5" fmla="val 6062"/>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24C29B2B-78FC-499B-BE3C-16535245727B}">
      <dsp:nvSpPr>
        <dsp:cNvPr id="0" name=""/>
        <dsp:cNvSpPr/>
      </dsp:nvSpPr>
      <dsp:spPr>
        <a:xfrm>
          <a:off x="2492125" y="39975"/>
          <a:ext cx="1353346" cy="1353346"/>
        </a:xfrm>
        <a:prstGeom prst="rect">
          <a:avLst/>
        </a:prstGeom>
        <a:noFill/>
        <a:ln>
          <a:noFill/>
        </a:ln>
        <a:effectLst>
          <a:outerShdw blurRad="50800" dist="38100" dir="2700000" algn="tl" rotWithShape="0">
            <a:prstClr val="black">
              <a:alpha val="40000"/>
            </a:prstClr>
          </a:outerShdw>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b="1" kern="1200" dirty="0"/>
            <a:t>Trade credits</a:t>
          </a:r>
          <a:endParaRPr lang="en-SG" sz="1800" b="1" kern="1200" dirty="0"/>
        </a:p>
      </dsp:txBody>
      <dsp:txXfrm>
        <a:off x="2492125" y="39975"/>
        <a:ext cx="1353346" cy="1353346"/>
      </dsp:txXfrm>
    </dsp:sp>
    <dsp:sp modelId="{91250A46-E50B-4975-B0E7-23995F301129}">
      <dsp:nvSpPr>
        <dsp:cNvPr id="0" name=""/>
        <dsp:cNvSpPr/>
      </dsp:nvSpPr>
      <dsp:spPr>
        <a:xfrm>
          <a:off x="1953915" y="344"/>
          <a:ext cx="5079097" cy="5079097"/>
        </a:xfrm>
        <a:prstGeom prst="circularArrow">
          <a:avLst>
            <a:gd name="adj1" fmla="val 5196"/>
            <a:gd name="adj2" fmla="val 335600"/>
            <a:gd name="adj3" fmla="val 16867006"/>
            <a:gd name="adj4" fmla="val 15197395"/>
            <a:gd name="adj5" fmla="val 6062"/>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SG"/>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0520FE6-1D66-4146-89F6-68085245FA1E}" type="datetimeFigureOut">
              <a:rPr lang="en-SG" smtClean="0"/>
              <a:t>25/7/2022</a:t>
            </a:fld>
            <a:endParaRPr lang="en-SG"/>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SG"/>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SG"/>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4BFC622-BD68-42D6-AE29-FB08065CA291}" type="slidenum">
              <a:rPr lang="en-SG" smtClean="0"/>
              <a:t>‹#›</a:t>
            </a:fld>
            <a:endParaRPr lang="en-SG"/>
          </a:p>
        </p:txBody>
      </p:sp>
    </p:spTree>
    <p:extLst>
      <p:ext uri="{BB962C8B-B14F-4D97-AF65-F5344CB8AC3E}">
        <p14:creationId xmlns:p14="http://schemas.microsoft.com/office/powerpoint/2010/main" val="37895151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SG" dirty="0"/>
          </a:p>
        </p:txBody>
      </p:sp>
      <p:sp>
        <p:nvSpPr>
          <p:cNvPr id="4" name="Slide Number Placeholder 3"/>
          <p:cNvSpPr>
            <a:spLocks noGrp="1"/>
          </p:cNvSpPr>
          <p:nvPr>
            <p:ph type="sldNum" sz="quarter" idx="5"/>
          </p:nvPr>
        </p:nvSpPr>
        <p:spPr/>
        <p:txBody>
          <a:bodyPr/>
          <a:lstStyle/>
          <a:p>
            <a:fld id="{34BFC622-BD68-42D6-AE29-FB08065CA291}" type="slidenum">
              <a:rPr lang="en-SG" smtClean="0"/>
              <a:t>11</a:t>
            </a:fld>
            <a:endParaRPr lang="en-SG"/>
          </a:p>
        </p:txBody>
      </p:sp>
    </p:spTree>
    <p:extLst>
      <p:ext uri="{BB962C8B-B14F-4D97-AF65-F5344CB8AC3E}">
        <p14:creationId xmlns:p14="http://schemas.microsoft.com/office/powerpoint/2010/main" val="40819975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SG"/>
          </a:p>
        </p:txBody>
      </p:sp>
      <p:sp>
        <p:nvSpPr>
          <p:cNvPr id="4" name="Slide Number Placeholder 3"/>
          <p:cNvSpPr>
            <a:spLocks noGrp="1"/>
          </p:cNvSpPr>
          <p:nvPr>
            <p:ph type="sldNum" sz="quarter" idx="5"/>
          </p:nvPr>
        </p:nvSpPr>
        <p:spPr/>
        <p:txBody>
          <a:bodyPr/>
          <a:lstStyle/>
          <a:p>
            <a:fld id="{34BFC622-BD68-42D6-AE29-FB08065CA291}" type="slidenum">
              <a:rPr lang="en-SG" smtClean="0"/>
              <a:t>13</a:t>
            </a:fld>
            <a:endParaRPr lang="en-SG"/>
          </a:p>
        </p:txBody>
      </p:sp>
    </p:spTree>
    <p:extLst>
      <p:ext uri="{BB962C8B-B14F-4D97-AF65-F5344CB8AC3E}">
        <p14:creationId xmlns:p14="http://schemas.microsoft.com/office/powerpoint/2010/main" val="175805794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hyperlink" Target="https://climateimpactx.com/" TargetMode="External"/><Relationship Id="rId3" Type="http://schemas.openxmlformats.org/officeDocument/2006/relationships/image" Target="../media/image3.emf"/><Relationship Id="rId7" Type="http://schemas.openxmlformats.org/officeDocument/2006/relationships/hyperlink" Target="mailto:contactus@climateimpactx.com" TargetMode="External"/><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emf"/><Relationship Id="rId5" Type="http://schemas.openxmlformats.org/officeDocument/2006/relationships/image" Target="../media/image5.png"/><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xml"/><Relationship Id="rId5" Type="http://schemas.openxmlformats.org/officeDocument/2006/relationships/hyperlink" Target="mailto:%20contact.us@climateimpactx.com" TargetMode="External"/><Relationship Id="rId4" Type="http://schemas.openxmlformats.org/officeDocument/2006/relationships/hyperlink" Target="https://climateimpactx.com/" TargetMode="Externa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Slide Default">
    <p:spTree>
      <p:nvGrpSpPr>
        <p:cNvPr id="1" name=""/>
        <p:cNvGrpSpPr/>
        <p:nvPr/>
      </p:nvGrpSpPr>
      <p:grpSpPr>
        <a:xfrm>
          <a:off x="0" y="0"/>
          <a:ext cx="0" cy="0"/>
          <a:chOff x="0" y="0"/>
          <a:chExt cx="0" cy="0"/>
        </a:xfrm>
      </p:grpSpPr>
      <p:sp>
        <p:nvSpPr>
          <p:cNvPr id="7" name="Text Placeholder 15">
            <a:extLst>
              <a:ext uri="{FF2B5EF4-FFF2-40B4-BE49-F238E27FC236}">
                <a16:creationId xmlns:a16="http://schemas.microsoft.com/office/drawing/2014/main" id="{66017C7B-1358-4018-AAB6-F687D30ECFF5}"/>
              </a:ext>
            </a:extLst>
          </p:cNvPr>
          <p:cNvSpPr>
            <a:spLocks noGrp="1"/>
          </p:cNvSpPr>
          <p:nvPr>
            <p:ph type="body" sz="quarter" idx="15" hasCustomPrompt="1"/>
          </p:nvPr>
        </p:nvSpPr>
        <p:spPr>
          <a:xfrm>
            <a:off x="720141" y="3103718"/>
            <a:ext cx="6159500" cy="650563"/>
          </a:xfrm>
          <a:prstGeom prst="rect">
            <a:avLst/>
          </a:prstGeom>
          <a:effectLst>
            <a:outerShdw blurRad="254000" sx="102000" sy="102000" algn="ctr" rotWithShape="0">
              <a:prstClr val="black">
                <a:alpha val="40000"/>
              </a:prstClr>
            </a:outerShdw>
          </a:effectLst>
        </p:spPr>
        <p:txBody>
          <a:bodyPr>
            <a:spAutoFit/>
          </a:bodyPr>
          <a:lstStyle>
            <a:lvl1pPr>
              <a:defRPr sz="4200" b="1">
                <a:solidFill>
                  <a:schemeClr val="bg1"/>
                </a:solidFill>
                <a:latin typeface="+mj-lt"/>
              </a:defRPr>
            </a:lvl1pPr>
            <a:lvl4pPr marL="180000" indent="0">
              <a:buNone/>
              <a:defRPr/>
            </a:lvl4pPr>
            <a:lvl5pPr marL="363600" indent="0">
              <a:buNone/>
              <a:defRPr/>
            </a:lvl5pPr>
          </a:lstStyle>
          <a:p>
            <a:pPr lvl="0"/>
            <a:r>
              <a:rPr lang="en-US"/>
              <a:t>Insert title here</a:t>
            </a:r>
          </a:p>
        </p:txBody>
      </p:sp>
      <p:pic>
        <p:nvPicPr>
          <p:cNvPr id="8" name="Picture 7" descr="A picture containing graphical user interface&#10;&#10;Description automatically generated">
            <a:extLst>
              <a:ext uri="{FF2B5EF4-FFF2-40B4-BE49-F238E27FC236}">
                <a16:creationId xmlns:a16="http://schemas.microsoft.com/office/drawing/2014/main" id="{474501CD-972C-4787-887A-1D9D3630FB0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20141" y="612527"/>
            <a:ext cx="2234018" cy="739460"/>
          </a:xfrm>
          <a:prstGeom prst="rect">
            <a:avLst/>
          </a:prstGeom>
        </p:spPr>
      </p:pic>
      <p:grpSp>
        <p:nvGrpSpPr>
          <p:cNvPr id="15" name="Group 14">
            <a:extLst>
              <a:ext uri="{FF2B5EF4-FFF2-40B4-BE49-F238E27FC236}">
                <a16:creationId xmlns:a16="http://schemas.microsoft.com/office/drawing/2014/main" id="{6ADFB2DB-EA79-5343-811F-B60E78F622C2}"/>
              </a:ext>
            </a:extLst>
          </p:cNvPr>
          <p:cNvGrpSpPr/>
          <p:nvPr/>
        </p:nvGrpSpPr>
        <p:grpSpPr>
          <a:xfrm>
            <a:off x="720142" y="6245473"/>
            <a:ext cx="10751718" cy="612527"/>
            <a:chOff x="720142" y="6245473"/>
            <a:chExt cx="10751718" cy="612527"/>
          </a:xfrm>
        </p:grpSpPr>
        <p:sp>
          <p:nvSpPr>
            <p:cNvPr id="2" name="Rectangle 1">
              <a:extLst>
                <a:ext uri="{FF2B5EF4-FFF2-40B4-BE49-F238E27FC236}">
                  <a16:creationId xmlns:a16="http://schemas.microsoft.com/office/drawing/2014/main" id="{9BDF026B-6D6C-294E-8FAB-D38711DD2C9F}"/>
                </a:ext>
              </a:extLst>
            </p:cNvPr>
            <p:cNvSpPr/>
            <p:nvPr/>
          </p:nvSpPr>
          <p:spPr>
            <a:xfrm>
              <a:off x="720142" y="6245473"/>
              <a:ext cx="10751718" cy="6125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a:extLst>
                <a:ext uri="{FF2B5EF4-FFF2-40B4-BE49-F238E27FC236}">
                  <a16:creationId xmlns:a16="http://schemas.microsoft.com/office/drawing/2014/main" id="{C06A7CBA-A0AE-47E7-BB31-36611A20644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22542" y="6496192"/>
              <a:ext cx="521822" cy="154017"/>
            </a:xfrm>
            <a:prstGeom prst="rect">
              <a:avLst/>
            </a:prstGeom>
          </p:spPr>
        </p:pic>
        <p:pic>
          <p:nvPicPr>
            <p:cNvPr id="10" name="Picture 9">
              <a:extLst>
                <a:ext uri="{FF2B5EF4-FFF2-40B4-BE49-F238E27FC236}">
                  <a16:creationId xmlns:a16="http://schemas.microsoft.com/office/drawing/2014/main" id="{5CCDE013-23E0-4CA2-96E3-1B7ED7E3C07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665222" y="6496192"/>
              <a:ext cx="526605" cy="154017"/>
            </a:xfrm>
            <a:prstGeom prst="rect">
              <a:avLst/>
            </a:prstGeom>
          </p:spPr>
        </p:pic>
        <p:pic>
          <p:nvPicPr>
            <p:cNvPr id="11" name="Picture 10" descr="Logo&#10;&#10;Description automatically generated">
              <a:extLst>
                <a:ext uri="{FF2B5EF4-FFF2-40B4-BE49-F238E27FC236}">
                  <a16:creationId xmlns:a16="http://schemas.microsoft.com/office/drawing/2014/main" id="{956054BE-EBAF-4633-8A32-2D07971B5C8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2412497" y="6445431"/>
              <a:ext cx="640345" cy="255538"/>
            </a:xfrm>
            <a:prstGeom prst="rect">
              <a:avLst/>
            </a:prstGeom>
          </p:spPr>
        </p:pic>
        <p:pic>
          <p:nvPicPr>
            <p:cNvPr id="12" name="Picture 11">
              <a:extLst>
                <a:ext uri="{FF2B5EF4-FFF2-40B4-BE49-F238E27FC236}">
                  <a16:creationId xmlns:a16="http://schemas.microsoft.com/office/drawing/2014/main" id="{705B022E-2482-4A9A-930D-DEF7C4548794}"/>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274988" y="6519855"/>
              <a:ext cx="783870" cy="106691"/>
            </a:xfrm>
            <a:prstGeom prst="rect">
              <a:avLst/>
            </a:prstGeom>
          </p:spPr>
        </p:pic>
        <p:sp>
          <p:nvSpPr>
            <p:cNvPr id="13" name="TextBox 12">
              <a:extLst>
                <a:ext uri="{FF2B5EF4-FFF2-40B4-BE49-F238E27FC236}">
                  <a16:creationId xmlns:a16="http://schemas.microsoft.com/office/drawing/2014/main" id="{D7630A8D-EE79-4226-B9D7-20A133AB5152}"/>
                </a:ext>
              </a:extLst>
            </p:cNvPr>
            <p:cNvSpPr txBox="1"/>
            <p:nvPr/>
          </p:nvSpPr>
          <p:spPr>
            <a:xfrm>
              <a:off x="5618747" y="6482487"/>
              <a:ext cx="5650711" cy="138499"/>
            </a:xfrm>
            <a:prstGeom prst="rect">
              <a:avLst/>
            </a:prstGeom>
            <a:noFill/>
          </p:spPr>
          <p:txBody>
            <a:bodyPr wrap="square" lIns="0" tIns="0" rIns="0" bIns="0">
              <a:spAutoFit/>
            </a:bodyPr>
            <a:lstStyle/>
            <a:p>
              <a:pPr algn="r"/>
              <a:r>
                <a:rPr lang="en-SG" sz="900" b="1">
                  <a:solidFill>
                    <a:srgbClr val="C00000"/>
                  </a:solidFill>
                </a:rPr>
                <a:t>CONFIDENTIAL</a:t>
              </a:r>
              <a:r>
                <a:rPr lang="en-SG" sz="900"/>
                <a:t> </a:t>
              </a:r>
              <a:r>
                <a:rPr lang="en-SG" sz="900">
                  <a:solidFill>
                    <a:schemeClr val="tx2">
                      <a:lumMod val="75000"/>
                    </a:schemeClr>
                  </a:solidFill>
                </a:rPr>
                <a:t>• </a:t>
              </a:r>
              <a:r>
                <a:rPr lang="en-SG" sz="900">
                  <a:solidFill>
                    <a:schemeClr val="tx2">
                      <a:lumMod val="75000"/>
                    </a:schemeClr>
                  </a:solidFill>
                  <a:hlinkClick r:id="rId7">
                    <a:extLst>
                      <a:ext uri="{A12FA001-AC4F-418D-AE19-62706E023703}">
                        <ahyp:hlinkClr xmlns:ahyp="http://schemas.microsoft.com/office/drawing/2018/hyperlinkcolor" val="tx"/>
                      </a:ext>
                    </a:extLst>
                  </a:hlinkClick>
                </a:rPr>
                <a:t>contactus@climateimpactx.com</a:t>
              </a:r>
              <a:r>
                <a:rPr lang="en-SG" sz="900">
                  <a:solidFill>
                    <a:schemeClr val="tx2">
                      <a:lumMod val="75000"/>
                    </a:schemeClr>
                  </a:solidFill>
                </a:rPr>
                <a:t> • </a:t>
              </a:r>
              <a:r>
                <a:rPr lang="en-SG" sz="900" b="1" err="1">
                  <a:solidFill>
                    <a:schemeClr val="tx2">
                      <a:lumMod val="75000"/>
                    </a:schemeClr>
                  </a:solidFill>
                  <a:hlinkClick r:id="rId8">
                    <a:extLst>
                      <a:ext uri="{A12FA001-AC4F-418D-AE19-62706E023703}">
                        <ahyp:hlinkClr xmlns:ahyp="http://schemas.microsoft.com/office/drawing/2018/hyperlinkcolor" val="tx"/>
                      </a:ext>
                    </a:extLst>
                  </a:hlinkClick>
                </a:rPr>
                <a:t>climateimpactx.com</a:t>
              </a:r>
              <a:endParaRPr lang="en-SG" sz="900" b="1">
                <a:solidFill>
                  <a:schemeClr val="tx2">
                    <a:lumMod val="75000"/>
                  </a:schemeClr>
                </a:solidFill>
              </a:endParaRPr>
            </a:p>
          </p:txBody>
        </p:sp>
      </p:grpSp>
      <p:sp>
        <p:nvSpPr>
          <p:cNvPr id="14" name="Text Placeholder 15">
            <a:extLst>
              <a:ext uri="{FF2B5EF4-FFF2-40B4-BE49-F238E27FC236}">
                <a16:creationId xmlns:a16="http://schemas.microsoft.com/office/drawing/2014/main" id="{E96F1108-5E96-5548-81A5-90AE3D228E38}"/>
              </a:ext>
            </a:extLst>
          </p:cNvPr>
          <p:cNvSpPr>
            <a:spLocks noGrp="1"/>
          </p:cNvSpPr>
          <p:nvPr>
            <p:ph type="body" sz="quarter" idx="16" hasCustomPrompt="1"/>
          </p:nvPr>
        </p:nvSpPr>
        <p:spPr>
          <a:xfrm>
            <a:off x="720141" y="4669471"/>
            <a:ext cx="6159500" cy="372987"/>
          </a:xfrm>
          <a:prstGeom prst="rect">
            <a:avLst/>
          </a:prstGeom>
          <a:effectLst>
            <a:outerShdw blurRad="254000" sx="102000" sy="102000" algn="ctr" rotWithShape="0">
              <a:prstClr val="black">
                <a:alpha val="40000"/>
              </a:prstClr>
            </a:outerShdw>
          </a:effectLst>
        </p:spPr>
        <p:txBody>
          <a:bodyPr>
            <a:spAutoFit/>
          </a:bodyPr>
          <a:lstStyle>
            <a:lvl1pPr>
              <a:defRPr sz="2400" b="0">
                <a:solidFill>
                  <a:schemeClr val="bg1"/>
                </a:solidFill>
                <a:latin typeface="+mj-lt"/>
              </a:defRPr>
            </a:lvl1pPr>
            <a:lvl4pPr marL="180000" indent="0">
              <a:buNone/>
              <a:defRPr/>
            </a:lvl4pPr>
            <a:lvl5pPr marL="363600" indent="0">
              <a:buNone/>
              <a:defRPr/>
            </a:lvl5pPr>
          </a:lstStyle>
          <a:p>
            <a:pPr lvl="0"/>
            <a:r>
              <a:rPr lang="en-US"/>
              <a:t>Date or subtitle</a:t>
            </a:r>
          </a:p>
        </p:txBody>
      </p:sp>
    </p:spTree>
    <p:extLst>
      <p:ext uri="{BB962C8B-B14F-4D97-AF65-F5344CB8AC3E}">
        <p14:creationId xmlns:p14="http://schemas.microsoft.com/office/powerpoint/2010/main" val="41621976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asic – Two Column with Picture">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1B4899C4-3754-7F4B-A142-2F6E3951C5B7}"/>
              </a:ext>
            </a:extLst>
          </p:cNvPr>
          <p:cNvSpPr>
            <a:spLocks noGrp="1"/>
          </p:cNvSpPr>
          <p:nvPr>
            <p:ph type="pic" sz="quarter" idx="14"/>
          </p:nvPr>
        </p:nvSpPr>
        <p:spPr>
          <a:xfrm>
            <a:off x="8232002" y="0"/>
            <a:ext cx="3959997" cy="6858000"/>
          </a:xfrm>
          <a:solidFill>
            <a:schemeClr val="bg1">
              <a:lumMod val="95000"/>
            </a:schemeClr>
          </a:solidFill>
        </p:spPr>
        <p:txBody>
          <a:bodyPr/>
          <a:lstStyle>
            <a:lvl1pPr>
              <a:defRPr/>
            </a:lvl1pPr>
          </a:lstStyle>
          <a:p>
            <a:r>
              <a:rPr lang="en-US"/>
              <a:t>Click icon to add picture</a:t>
            </a:r>
            <a:endParaRPr lang="en-SG"/>
          </a:p>
        </p:txBody>
      </p:sp>
      <p:sp>
        <p:nvSpPr>
          <p:cNvPr id="2" name="Title 1">
            <a:extLst>
              <a:ext uri="{FF2B5EF4-FFF2-40B4-BE49-F238E27FC236}">
                <a16:creationId xmlns:a16="http://schemas.microsoft.com/office/drawing/2014/main" id="{61945A69-626D-DE47-9B9D-85BFA89EE8E5}"/>
              </a:ext>
            </a:extLst>
          </p:cNvPr>
          <p:cNvSpPr>
            <a:spLocks noGrp="1"/>
          </p:cNvSpPr>
          <p:nvPr>
            <p:ph type="title" hasCustomPrompt="1"/>
          </p:nvPr>
        </p:nvSpPr>
        <p:spPr>
          <a:xfrm>
            <a:off x="359999" y="450000"/>
            <a:ext cx="7529784" cy="332399"/>
          </a:xfrm>
        </p:spPr>
        <p:txBody>
          <a:bodyPr/>
          <a:lstStyle>
            <a:lvl1pPr>
              <a:defRPr>
                <a:solidFill>
                  <a:schemeClr val="accent3"/>
                </a:solidFill>
              </a:defRPr>
            </a:lvl1pPr>
          </a:lstStyle>
          <a:p>
            <a:r>
              <a:rPr lang="en-GB"/>
              <a:t>Insert title here</a:t>
            </a:r>
          </a:p>
        </p:txBody>
      </p:sp>
      <p:sp>
        <p:nvSpPr>
          <p:cNvPr id="3" name="Slide Number Placeholder 2">
            <a:extLst>
              <a:ext uri="{FF2B5EF4-FFF2-40B4-BE49-F238E27FC236}">
                <a16:creationId xmlns:a16="http://schemas.microsoft.com/office/drawing/2014/main" id="{983EA732-9062-1341-B955-C5D4864331DC}"/>
              </a:ext>
            </a:extLst>
          </p:cNvPr>
          <p:cNvSpPr>
            <a:spLocks noGrp="1"/>
          </p:cNvSpPr>
          <p:nvPr>
            <p:ph type="sldNum" sz="quarter" idx="10"/>
          </p:nvPr>
        </p:nvSpPr>
        <p:spPr/>
        <p:txBody>
          <a:bodyPr/>
          <a:lstStyle/>
          <a:p>
            <a:fld id="{91AAFA88-51D8-4832-B4D0-D7122A7C4455}" type="slidenum">
              <a:rPr lang="en-SG" smtClean="0"/>
              <a:t>‹#›</a:t>
            </a:fld>
            <a:endParaRPr lang="en-SG"/>
          </a:p>
        </p:txBody>
      </p:sp>
      <p:pic>
        <p:nvPicPr>
          <p:cNvPr id="4" name="Graphic 3">
            <a:extLst>
              <a:ext uri="{FF2B5EF4-FFF2-40B4-BE49-F238E27FC236}">
                <a16:creationId xmlns:a16="http://schemas.microsoft.com/office/drawing/2014/main" id="{2500454D-C186-4846-88E2-F297E7B57C85}"/>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790000" y="180000"/>
            <a:ext cx="233304" cy="233273"/>
          </a:xfrm>
          <a:prstGeom prst="rect">
            <a:avLst/>
          </a:prstGeom>
        </p:spPr>
      </p:pic>
      <p:sp>
        <p:nvSpPr>
          <p:cNvPr id="5" name="Text Placeholder 3">
            <a:extLst>
              <a:ext uri="{FF2B5EF4-FFF2-40B4-BE49-F238E27FC236}">
                <a16:creationId xmlns:a16="http://schemas.microsoft.com/office/drawing/2014/main" id="{D8EA2D1D-70B6-8E45-941F-EE6A1EAA17A6}"/>
              </a:ext>
            </a:extLst>
          </p:cNvPr>
          <p:cNvSpPr>
            <a:spLocks noGrp="1"/>
          </p:cNvSpPr>
          <p:nvPr>
            <p:ph type="body" sz="quarter" idx="51" hasCustomPrompt="1"/>
          </p:nvPr>
        </p:nvSpPr>
        <p:spPr>
          <a:xfrm>
            <a:off x="359999" y="805904"/>
            <a:ext cx="7529784" cy="279692"/>
          </a:xfrm>
          <a:prstGeom prst="rect">
            <a:avLst/>
          </a:prstGeom>
        </p:spPr>
        <p:txBody>
          <a:bodyPr wrap="square">
            <a:spAutoFit/>
          </a:bodyPr>
          <a:lstStyle>
            <a:lvl1pPr>
              <a:defRPr sz="1800" b="0">
                <a:solidFill>
                  <a:schemeClr val="tx1">
                    <a:lumMod val="75000"/>
                    <a:lumOff val="25000"/>
                  </a:schemeClr>
                </a:solidFill>
                <a:latin typeface="+mn-lt"/>
              </a:defRPr>
            </a:lvl1pPr>
            <a:lvl2pPr>
              <a:defRPr sz="2800">
                <a:latin typeface="Graphik Semibold" panose="020B0703030202060203" pitchFamily="34" charset="0"/>
              </a:defRPr>
            </a:lvl2pPr>
          </a:lstStyle>
          <a:p>
            <a:pPr lvl="0"/>
            <a:r>
              <a:rPr lang="en-US"/>
              <a:t>Insert subtitle here</a:t>
            </a:r>
            <a:endParaRPr lang="en-GB"/>
          </a:p>
        </p:txBody>
      </p:sp>
      <p:sp>
        <p:nvSpPr>
          <p:cNvPr id="14" name="Text Placeholder 7">
            <a:extLst>
              <a:ext uri="{FF2B5EF4-FFF2-40B4-BE49-F238E27FC236}">
                <a16:creationId xmlns:a16="http://schemas.microsoft.com/office/drawing/2014/main" id="{F2951AE7-7161-9341-A534-33E0005F771D}"/>
              </a:ext>
            </a:extLst>
          </p:cNvPr>
          <p:cNvSpPr>
            <a:spLocks noGrp="1"/>
          </p:cNvSpPr>
          <p:nvPr>
            <p:ph type="body" sz="quarter" idx="52"/>
          </p:nvPr>
        </p:nvSpPr>
        <p:spPr>
          <a:xfrm>
            <a:off x="359999" y="1503336"/>
            <a:ext cx="3541825" cy="4903702"/>
          </a:xfrm>
        </p:spPr>
        <p:txBody>
          <a:bodyPr/>
          <a:lstStyle>
            <a:lvl1pPr>
              <a:defRPr sz="16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a:extLst>
              <a:ext uri="{FF2B5EF4-FFF2-40B4-BE49-F238E27FC236}">
                <a16:creationId xmlns:a16="http://schemas.microsoft.com/office/drawing/2014/main" id="{754B7F23-0638-EB40-A145-6BE59B9C974C}"/>
              </a:ext>
            </a:extLst>
          </p:cNvPr>
          <p:cNvSpPr>
            <a:spLocks noGrp="1"/>
          </p:cNvSpPr>
          <p:nvPr>
            <p:ph type="body" sz="quarter" idx="53"/>
          </p:nvPr>
        </p:nvSpPr>
        <p:spPr>
          <a:xfrm>
            <a:off x="4296000" y="1503336"/>
            <a:ext cx="3541825" cy="4903702"/>
          </a:xfrm>
        </p:spPr>
        <p:txBody>
          <a:bodyPr/>
          <a:lstStyle>
            <a:lvl1pPr>
              <a:defRPr sz="16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0">
            <a:extLst>
              <a:ext uri="{FF2B5EF4-FFF2-40B4-BE49-F238E27FC236}">
                <a16:creationId xmlns:a16="http://schemas.microsoft.com/office/drawing/2014/main" id="{B4D0CF0B-BF6E-0D49-8D16-A465880AC3EC}"/>
              </a:ext>
            </a:extLst>
          </p:cNvPr>
          <p:cNvSpPr>
            <a:spLocks noGrp="1"/>
          </p:cNvSpPr>
          <p:nvPr>
            <p:ph type="body" sz="quarter" idx="54" hasCustomPrompt="1"/>
          </p:nvPr>
        </p:nvSpPr>
        <p:spPr>
          <a:xfrm>
            <a:off x="360364" y="6520402"/>
            <a:ext cx="3603712" cy="124329"/>
          </a:xfrm>
        </p:spPr>
        <p:txBody>
          <a:bodyPr wrap="square">
            <a:spAutoFit/>
          </a:bodyPr>
          <a:lstStyle>
            <a:lvl1pPr>
              <a:defRPr sz="800">
                <a:solidFill>
                  <a:schemeClr val="bg1">
                    <a:lumMod val="85000"/>
                  </a:schemeClr>
                </a:solidFill>
              </a:defRPr>
            </a:lvl1pPr>
          </a:lstStyle>
          <a:p>
            <a:pPr lvl="0"/>
            <a:r>
              <a:rPr lang="en-GB"/>
              <a:t>Label (e.g. for listing sources)</a:t>
            </a:r>
          </a:p>
        </p:txBody>
      </p:sp>
    </p:spTree>
    <p:extLst>
      <p:ext uri="{BB962C8B-B14F-4D97-AF65-F5344CB8AC3E}">
        <p14:creationId xmlns:p14="http://schemas.microsoft.com/office/powerpoint/2010/main" val="20487810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ighlight Section Left">
    <p:spTree>
      <p:nvGrpSpPr>
        <p:cNvPr id="1" name=""/>
        <p:cNvGrpSpPr/>
        <p:nvPr/>
      </p:nvGrpSpPr>
      <p:grpSpPr>
        <a:xfrm>
          <a:off x="0" y="0"/>
          <a:ext cx="0" cy="0"/>
          <a:chOff x="0" y="0"/>
          <a:chExt cx="0" cy="0"/>
        </a:xfrm>
      </p:grpSpPr>
      <p:sp>
        <p:nvSpPr>
          <p:cNvPr id="16" name="Freeform 15">
            <a:extLst>
              <a:ext uri="{FF2B5EF4-FFF2-40B4-BE49-F238E27FC236}">
                <a16:creationId xmlns:a16="http://schemas.microsoft.com/office/drawing/2014/main" id="{CC6F7D3C-5840-144A-A482-3634102494A3}"/>
              </a:ext>
            </a:extLst>
          </p:cNvPr>
          <p:cNvSpPr/>
          <p:nvPr/>
        </p:nvSpPr>
        <p:spPr>
          <a:xfrm>
            <a:off x="-1" y="0"/>
            <a:ext cx="6210795" cy="6858000"/>
          </a:xfrm>
          <a:custGeom>
            <a:avLst/>
            <a:gdLst>
              <a:gd name="connsiteX0" fmla="*/ 0 w 11664950"/>
              <a:gd name="connsiteY0" fmla="*/ 0 h 6337300"/>
              <a:gd name="connsiteX1" fmla="*/ 11664950 w 11664950"/>
              <a:gd name="connsiteY1" fmla="*/ 0 h 6337300"/>
              <a:gd name="connsiteX2" fmla="*/ 11664950 w 11664950"/>
              <a:gd name="connsiteY2" fmla="*/ 6337300 h 6337300"/>
              <a:gd name="connsiteX3" fmla="*/ 0 w 11664950"/>
              <a:gd name="connsiteY3" fmla="*/ 6337300 h 6337300"/>
            </a:gdLst>
            <a:ahLst/>
            <a:cxnLst>
              <a:cxn ang="0">
                <a:pos x="connsiteX0" y="connsiteY0"/>
              </a:cxn>
              <a:cxn ang="0">
                <a:pos x="connsiteX1" y="connsiteY1"/>
              </a:cxn>
              <a:cxn ang="0">
                <a:pos x="connsiteX2" y="connsiteY2"/>
              </a:cxn>
              <a:cxn ang="0">
                <a:pos x="connsiteX3" y="connsiteY3"/>
              </a:cxn>
            </a:cxnLst>
            <a:rect l="l" t="t" r="r" b="b"/>
            <a:pathLst>
              <a:path w="11664950" h="6337300">
                <a:moveTo>
                  <a:pt x="0" y="0"/>
                </a:moveTo>
                <a:lnTo>
                  <a:pt x="11664950" y="0"/>
                </a:lnTo>
                <a:lnTo>
                  <a:pt x="11664950" y="6337300"/>
                </a:lnTo>
                <a:lnTo>
                  <a:pt x="0" y="6337300"/>
                </a:lnTo>
                <a:close/>
              </a:path>
            </a:pathLst>
          </a:custGeom>
          <a:gradFill flip="none" rotWithShape="1">
            <a:gsLst>
              <a:gs pos="100000">
                <a:schemeClr val="accent1">
                  <a:lumMod val="75000"/>
                </a:schemeClr>
              </a:gs>
              <a:gs pos="0">
                <a:srgbClr val="339B46"/>
              </a:gs>
            </a:gsLst>
            <a:lin ang="2700000" scaled="0"/>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FFFFFF"/>
              </a:solidFill>
              <a:effectLst/>
              <a:uLnTx/>
              <a:uFillTx/>
              <a:latin typeface="Century Gothic"/>
              <a:ea typeface="+mn-ea"/>
              <a:cs typeface="+mn-cs"/>
            </a:endParaRPr>
          </a:p>
        </p:txBody>
      </p:sp>
      <p:pic>
        <p:nvPicPr>
          <p:cNvPr id="4" name="Graphic 3">
            <a:extLst>
              <a:ext uri="{FF2B5EF4-FFF2-40B4-BE49-F238E27FC236}">
                <a16:creationId xmlns:a16="http://schemas.microsoft.com/office/drawing/2014/main" id="{2500454D-C186-4846-88E2-F297E7B57C85}"/>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790000" y="180000"/>
            <a:ext cx="233304" cy="233273"/>
          </a:xfrm>
          <a:prstGeom prst="rect">
            <a:avLst/>
          </a:prstGeom>
        </p:spPr>
      </p:pic>
      <p:sp>
        <p:nvSpPr>
          <p:cNvPr id="12" name="Slide Number Placeholder 2">
            <a:extLst>
              <a:ext uri="{FF2B5EF4-FFF2-40B4-BE49-F238E27FC236}">
                <a16:creationId xmlns:a16="http://schemas.microsoft.com/office/drawing/2014/main" id="{F36118D3-B151-C448-A277-F69E52981050}"/>
              </a:ext>
            </a:extLst>
          </p:cNvPr>
          <p:cNvSpPr>
            <a:spLocks noGrp="1"/>
          </p:cNvSpPr>
          <p:nvPr>
            <p:ph type="sldNum" sz="quarter" idx="10"/>
          </p:nvPr>
        </p:nvSpPr>
        <p:spPr>
          <a:xfrm>
            <a:off x="11596055" y="6520402"/>
            <a:ext cx="235945" cy="123111"/>
          </a:xfrm>
        </p:spPr>
        <p:txBody>
          <a:bodyPr/>
          <a:lstStyle/>
          <a:p>
            <a:fld id="{91AAFA88-51D8-4832-B4D0-D7122A7C4455}" type="slidenum">
              <a:rPr lang="en-SG" smtClean="0"/>
              <a:t>‹#›</a:t>
            </a:fld>
            <a:endParaRPr lang="en-SG"/>
          </a:p>
        </p:txBody>
      </p:sp>
      <p:sp>
        <p:nvSpPr>
          <p:cNvPr id="14" name="Text Placeholder 10">
            <a:extLst>
              <a:ext uri="{FF2B5EF4-FFF2-40B4-BE49-F238E27FC236}">
                <a16:creationId xmlns:a16="http://schemas.microsoft.com/office/drawing/2014/main" id="{71477DFC-01D2-5E42-859B-D4A1B9939008}"/>
              </a:ext>
            </a:extLst>
          </p:cNvPr>
          <p:cNvSpPr>
            <a:spLocks noGrp="1"/>
          </p:cNvSpPr>
          <p:nvPr>
            <p:ph type="body" sz="quarter" idx="55" hasCustomPrompt="1"/>
          </p:nvPr>
        </p:nvSpPr>
        <p:spPr>
          <a:xfrm>
            <a:off x="360364" y="6520402"/>
            <a:ext cx="3603712" cy="124329"/>
          </a:xfrm>
        </p:spPr>
        <p:txBody>
          <a:bodyPr wrap="square">
            <a:spAutoFit/>
          </a:bodyPr>
          <a:lstStyle>
            <a:lvl1pPr>
              <a:defRPr sz="800">
                <a:solidFill>
                  <a:schemeClr val="bg1">
                    <a:lumMod val="85000"/>
                  </a:schemeClr>
                </a:solidFill>
              </a:defRPr>
            </a:lvl1pPr>
          </a:lstStyle>
          <a:p>
            <a:pPr lvl="0"/>
            <a:r>
              <a:rPr lang="en-GB"/>
              <a:t>Label (e.g. for listing sources)</a:t>
            </a:r>
          </a:p>
        </p:txBody>
      </p:sp>
      <p:sp>
        <p:nvSpPr>
          <p:cNvPr id="18" name="Text Placeholder 3">
            <a:extLst>
              <a:ext uri="{FF2B5EF4-FFF2-40B4-BE49-F238E27FC236}">
                <a16:creationId xmlns:a16="http://schemas.microsoft.com/office/drawing/2014/main" id="{895C54E2-3610-8F46-AC1D-379DEED0B022}"/>
              </a:ext>
            </a:extLst>
          </p:cNvPr>
          <p:cNvSpPr>
            <a:spLocks noGrp="1"/>
          </p:cNvSpPr>
          <p:nvPr>
            <p:ph type="body" sz="quarter" idx="57" hasCustomPrompt="1"/>
          </p:nvPr>
        </p:nvSpPr>
        <p:spPr>
          <a:xfrm>
            <a:off x="360000" y="805903"/>
            <a:ext cx="5515200" cy="279692"/>
          </a:xfrm>
          <a:prstGeom prst="rect">
            <a:avLst/>
          </a:prstGeom>
        </p:spPr>
        <p:txBody>
          <a:bodyPr wrap="square">
            <a:spAutoFit/>
          </a:bodyPr>
          <a:lstStyle>
            <a:lvl1pPr>
              <a:defRPr sz="1800" b="0">
                <a:solidFill>
                  <a:schemeClr val="bg1">
                    <a:lumMod val="85000"/>
                  </a:schemeClr>
                </a:solidFill>
                <a:latin typeface="+mn-lt"/>
              </a:defRPr>
            </a:lvl1pPr>
            <a:lvl2pPr>
              <a:defRPr sz="2800">
                <a:latin typeface="Graphik Semibold" panose="020B0703030202060203" pitchFamily="34" charset="0"/>
              </a:defRPr>
            </a:lvl2pPr>
          </a:lstStyle>
          <a:p>
            <a:pPr lvl="0"/>
            <a:r>
              <a:rPr lang="en-US"/>
              <a:t>Insert subtitle here</a:t>
            </a:r>
            <a:endParaRPr lang="en-GB"/>
          </a:p>
        </p:txBody>
      </p:sp>
      <p:sp>
        <p:nvSpPr>
          <p:cNvPr id="19" name="Text Placeholder 7">
            <a:extLst>
              <a:ext uri="{FF2B5EF4-FFF2-40B4-BE49-F238E27FC236}">
                <a16:creationId xmlns:a16="http://schemas.microsoft.com/office/drawing/2014/main" id="{DC29F063-EF39-9E4B-86D9-9291CCE0870A}"/>
              </a:ext>
            </a:extLst>
          </p:cNvPr>
          <p:cNvSpPr>
            <a:spLocks noGrp="1"/>
          </p:cNvSpPr>
          <p:nvPr>
            <p:ph type="body" sz="quarter" idx="52"/>
          </p:nvPr>
        </p:nvSpPr>
        <p:spPr>
          <a:xfrm>
            <a:off x="359999" y="1502612"/>
            <a:ext cx="5515200" cy="4904426"/>
          </a:xfrm>
        </p:spPr>
        <p:txBody>
          <a:bodyPr/>
          <a:lstStyle>
            <a:lvl1pPr>
              <a:defRPr sz="1600">
                <a:solidFill>
                  <a:schemeClr val="bg1"/>
                </a:solidFill>
              </a:defRPr>
            </a:lvl1pPr>
            <a:lvl2pPr>
              <a:defRPr sz="16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itle 1">
            <a:extLst>
              <a:ext uri="{FF2B5EF4-FFF2-40B4-BE49-F238E27FC236}">
                <a16:creationId xmlns:a16="http://schemas.microsoft.com/office/drawing/2014/main" id="{73F3F0F7-AC6B-014C-86D9-FE1594EAC810}"/>
              </a:ext>
            </a:extLst>
          </p:cNvPr>
          <p:cNvSpPr>
            <a:spLocks noGrp="1"/>
          </p:cNvSpPr>
          <p:nvPr>
            <p:ph type="title" hasCustomPrompt="1"/>
          </p:nvPr>
        </p:nvSpPr>
        <p:spPr>
          <a:xfrm>
            <a:off x="359999" y="456077"/>
            <a:ext cx="5515200" cy="332399"/>
          </a:xfrm>
        </p:spPr>
        <p:txBody>
          <a:bodyPr/>
          <a:lstStyle>
            <a:lvl1pPr>
              <a:defRPr>
                <a:solidFill>
                  <a:schemeClr val="bg1"/>
                </a:solidFill>
              </a:defRPr>
            </a:lvl1pPr>
          </a:lstStyle>
          <a:p>
            <a:r>
              <a:rPr lang="en-GB"/>
              <a:t>Insert title here</a:t>
            </a:r>
          </a:p>
        </p:txBody>
      </p:sp>
    </p:spTree>
    <p:extLst>
      <p:ext uri="{BB962C8B-B14F-4D97-AF65-F5344CB8AC3E}">
        <p14:creationId xmlns:p14="http://schemas.microsoft.com/office/powerpoint/2010/main" val="130462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ighlight Content Green Background">
    <p:bg>
      <p:bgPr>
        <a:solidFill>
          <a:srgbClr val="E8F3E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945A69-626D-DE47-9B9D-85BFA89EE8E5}"/>
              </a:ext>
            </a:extLst>
          </p:cNvPr>
          <p:cNvSpPr>
            <a:spLocks noGrp="1"/>
          </p:cNvSpPr>
          <p:nvPr>
            <p:ph type="title" hasCustomPrompt="1"/>
          </p:nvPr>
        </p:nvSpPr>
        <p:spPr>
          <a:xfrm>
            <a:off x="359999" y="450000"/>
            <a:ext cx="11160000" cy="332399"/>
          </a:xfrm>
        </p:spPr>
        <p:txBody>
          <a:bodyPr/>
          <a:lstStyle>
            <a:lvl1pPr>
              <a:defRPr>
                <a:solidFill>
                  <a:schemeClr val="accent3"/>
                </a:solidFill>
              </a:defRPr>
            </a:lvl1pPr>
          </a:lstStyle>
          <a:p>
            <a:r>
              <a:rPr lang="en-GB"/>
              <a:t>Insert title here</a:t>
            </a:r>
          </a:p>
        </p:txBody>
      </p:sp>
      <p:sp>
        <p:nvSpPr>
          <p:cNvPr id="3" name="Slide Number Placeholder 2">
            <a:extLst>
              <a:ext uri="{FF2B5EF4-FFF2-40B4-BE49-F238E27FC236}">
                <a16:creationId xmlns:a16="http://schemas.microsoft.com/office/drawing/2014/main" id="{983EA732-9062-1341-B955-C5D4864331DC}"/>
              </a:ext>
            </a:extLst>
          </p:cNvPr>
          <p:cNvSpPr>
            <a:spLocks noGrp="1"/>
          </p:cNvSpPr>
          <p:nvPr>
            <p:ph type="sldNum" sz="quarter" idx="10"/>
          </p:nvPr>
        </p:nvSpPr>
        <p:spPr/>
        <p:txBody>
          <a:bodyPr/>
          <a:lstStyle/>
          <a:p>
            <a:fld id="{91AAFA88-51D8-4832-B4D0-D7122A7C4455}" type="slidenum">
              <a:rPr lang="en-SG" smtClean="0"/>
              <a:t>‹#›</a:t>
            </a:fld>
            <a:endParaRPr lang="en-SG"/>
          </a:p>
        </p:txBody>
      </p:sp>
      <p:pic>
        <p:nvPicPr>
          <p:cNvPr id="4" name="Graphic 3">
            <a:extLst>
              <a:ext uri="{FF2B5EF4-FFF2-40B4-BE49-F238E27FC236}">
                <a16:creationId xmlns:a16="http://schemas.microsoft.com/office/drawing/2014/main" id="{2500454D-C186-4846-88E2-F297E7B57C85}"/>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790000" y="180000"/>
            <a:ext cx="233304" cy="233273"/>
          </a:xfrm>
          <a:prstGeom prst="rect">
            <a:avLst/>
          </a:prstGeom>
        </p:spPr>
      </p:pic>
      <p:sp>
        <p:nvSpPr>
          <p:cNvPr id="5" name="Text Placeholder 3">
            <a:extLst>
              <a:ext uri="{FF2B5EF4-FFF2-40B4-BE49-F238E27FC236}">
                <a16:creationId xmlns:a16="http://schemas.microsoft.com/office/drawing/2014/main" id="{D8EA2D1D-70B6-8E45-941F-EE6A1EAA17A6}"/>
              </a:ext>
            </a:extLst>
          </p:cNvPr>
          <p:cNvSpPr>
            <a:spLocks noGrp="1"/>
          </p:cNvSpPr>
          <p:nvPr>
            <p:ph type="body" sz="quarter" idx="51" hasCustomPrompt="1"/>
          </p:nvPr>
        </p:nvSpPr>
        <p:spPr>
          <a:xfrm>
            <a:off x="359999" y="805904"/>
            <a:ext cx="11160000" cy="279692"/>
          </a:xfrm>
          <a:prstGeom prst="rect">
            <a:avLst/>
          </a:prstGeom>
        </p:spPr>
        <p:txBody>
          <a:bodyPr wrap="square">
            <a:spAutoFit/>
          </a:bodyPr>
          <a:lstStyle>
            <a:lvl1pPr>
              <a:defRPr sz="1800" b="0">
                <a:solidFill>
                  <a:schemeClr val="tx1">
                    <a:lumMod val="75000"/>
                    <a:lumOff val="25000"/>
                  </a:schemeClr>
                </a:solidFill>
                <a:latin typeface="+mn-lt"/>
              </a:defRPr>
            </a:lvl1pPr>
            <a:lvl2pPr>
              <a:defRPr sz="2800">
                <a:latin typeface="Graphik Semibold" panose="020B0703030202060203" pitchFamily="34" charset="0"/>
              </a:defRPr>
            </a:lvl2pPr>
          </a:lstStyle>
          <a:p>
            <a:pPr lvl="0"/>
            <a:r>
              <a:rPr lang="en-US"/>
              <a:t>Insert subtitle here</a:t>
            </a:r>
            <a:endParaRPr lang="en-GB"/>
          </a:p>
        </p:txBody>
      </p:sp>
      <p:sp>
        <p:nvSpPr>
          <p:cNvPr id="11" name="Text Placeholder 10">
            <a:extLst>
              <a:ext uri="{FF2B5EF4-FFF2-40B4-BE49-F238E27FC236}">
                <a16:creationId xmlns:a16="http://schemas.microsoft.com/office/drawing/2014/main" id="{F0562872-4444-4246-9CFD-6BE5200A33B6}"/>
              </a:ext>
            </a:extLst>
          </p:cNvPr>
          <p:cNvSpPr>
            <a:spLocks noGrp="1"/>
          </p:cNvSpPr>
          <p:nvPr>
            <p:ph type="body" sz="quarter" idx="52" hasCustomPrompt="1"/>
          </p:nvPr>
        </p:nvSpPr>
        <p:spPr>
          <a:xfrm>
            <a:off x="360364" y="6520402"/>
            <a:ext cx="3603712" cy="124329"/>
          </a:xfrm>
        </p:spPr>
        <p:txBody>
          <a:bodyPr wrap="square">
            <a:spAutoFit/>
          </a:bodyPr>
          <a:lstStyle>
            <a:lvl1pPr>
              <a:defRPr sz="800">
                <a:solidFill>
                  <a:schemeClr val="bg1">
                    <a:lumMod val="85000"/>
                  </a:schemeClr>
                </a:solidFill>
              </a:defRPr>
            </a:lvl1pPr>
          </a:lstStyle>
          <a:p>
            <a:pPr lvl="0"/>
            <a:r>
              <a:rPr lang="en-GB"/>
              <a:t>Label (e.g. for listing sources)</a:t>
            </a:r>
          </a:p>
        </p:txBody>
      </p:sp>
    </p:spTree>
    <p:extLst>
      <p:ext uri="{BB962C8B-B14F-4D97-AF65-F5344CB8AC3E}">
        <p14:creationId xmlns:p14="http://schemas.microsoft.com/office/powerpoint/2010/main" val="41805506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Highlight Vision Landscape">
    <p:bg>
      <p:bgPr>
        <a:solidFill>
          <a:srgbClr val="E8F3EB"/>
        </a:solidFill>
        <a:effectLst/>
      </p:bgPr>
    </p:bg>
    <p:spTree>
      <p:nvGrpSpPr>
        <p:cNvPr id="1" name=""/>
        <p:cNvGrpSpPr/>
        <p:nvPr/>
      </p:nvGrpSpPr>
      <p:grpSpPr>
        <a:xfrm>
          <a:off x="0" y="0"/>
          <a:ext cx="0" cy="0"/>
          <a:chOff x="0" y="0"/>
          <a:chExt cx="0" cy="0"/>
        </a:xfrm>
      </p:grpSpPr>
      <p:pic>
        <p:nvPicPr>
          <p:cNvPr id="9" name="Picture 8" descr="A picture containing water, mountain, outdoor, nature&#10;&#10;Description automatically generated">
            <a:extLst>
              <a:ext uri="{FF2B5EF4-FFF2-40B4-BE49-F238E27FC236}">
                <a16:creationId xmlns:a16="http://schemas.microsoft.com/office/drawing/2014/main" id="{3B927DD9-5AFD-C941-8525-D58F32C9B57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3048"/>
            <a:ext cx="12192000" cy="6851904"/>
          </a:xfrm>
          <a:prstGeom prst="rect">
            <a:avLst/>
          </a:prstGeom>
        </p:spPr>
      </p:pic>
      <p:sp>
        <p:nvSpPr>
          <p:cNvPr id="8" name="Rectangle 7">
            <a:extLst>
              <a:ext uri="{FF2B5EF4-FFF2-40B4-BE49-F238E27FC236}">
                <a16:creationId xmlns:a16="http://schemas.microsoft.com/office/drawing/2014/main" id="{0C36A62C-0286-C047-8727-50E0427AEF55}"/>
              </a:ext>
            </a:extLst>
          </p:cNvPr>
          <p:cNvSpPr/>
          <p:nvPr/>
        </p:nvSpPr>
        <p:spPr>
          <a:xfrm>
            <a:off x="0" y="0"/>
            <a:ext cx="12192000" cy="6858000"/>
          </a:xfrm>
          <a:prstGeom prst="rect">
            <a:avLst/>
          </a:prstGeom>
          <a:solidFill>
            <a:schemeClr val="bg1">
              <a:alpha val="8205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GB" sz="2400">
              <a:solidFill>
                <a:srgbClr val="000000"/>
              </a:solidFill>
              <a:latin typeface="Century Gothic" panose="020F0302020204030204"/>
            </a:endParaRPr>
          </a:p>
        </p:txBody>
      </p:sp>
      <p:sp>
        <p:nvSpPr>
          <p:cNvPr id="2" name="Title 1">
            <a:extLst>
              <a:ext uri="{FF2B5EF4-FFF2-40B4-BE49-F238E27FC236}">
                <a16:creationId xmlns:a16="http://schemas.microsoft.com/office/drawing/2014/main" id="{61945A69-626D-DE47-9B9D-85BFA89EE8E5}"/>
              </a:ext>
            </a:extLst>
          </p:cNvPr>
          <p:cNvSpPr>
            <a:spLocks noGrp="1"/>
          </p:cNvSpPr>
          <p:nvPr>
            <p:ph type="title" hasCustomPrompt="1"/>
          </p:nvPr>
        </p:nvSpPr>
        <p:spPr>
          <a:xfrm>
            <a:off x="359999" y="450000"/>
            <a:ext cx="11160000" cy="332399"/>
          </a:xfrm>
        </p:spPr>
        <p:txBody>
          <a:bodyPr/>
          <a:lstStyle>
            <a:lvl1pPr>
              <a:defRPr>
                <a:solidFill>
                  <a:schemeClr val="accent3"/>
                </a:solidFill>
              </a:defRPr>
            </a:lvl1pPr>
          </a:lstStyle>
          <a:p>
            <a:r>
              <a:rPr lang="en-GB"/>
              <a:t>Insert title here</a:t>
            </a:r>
          </a:p>
        </p:txBody>
      </p:sp>
      <p:sp>
        <p:nvSpPr>
          <p:cNvPr id="3" name="Slide Number Placeholder 2">
            <a:extLst>
              <a:ext uri="{FF2B5EF4-FFF2-40B4-BE49-F238E27FC236}">
                <a16:creationId xmlns:a16="http://schemas.microsoft.com/office/drawing/2014/main" id="{983EA732-9062-1341-B955-C5D4864331DC}"/>
              </a:ext>
            </a:extLst>
          </p:cNvPr>
          <p:cNvSpPr>
            <a:spLocks noGrp="1"/>
          </p:cNvSpPr>
          <p:nvPr>
            <p:ph type="sldNum" sz="quarter" idx="10"/>
          </p:nvPr>
        </p:nvSpPr>
        <p:spPr/>
        <p:txBody>
          <a:bodyPr/>
          <a:lstStyle/>
          <a:p>
            <a:fld id="{91AAFA88-51D8-4832-B4D0-D7122A7C4455}" type="slidenum">
              <a:rPr lang="en-SG" smtClean="0"/>
              <a:t>‹#›</a:t>
            </a:fld>
            <a:endParaRPr lang="en-SG"/>
          </a:p>
        </p:txBody>
      </p:sp>
      <p:pic>
        <p:nvPicPr>
          <p:cNvPr id="4" name="Graphic 3">
            <a:extLst>
              <a:ext uri="{FF2B5EF4-FFF2-40B4-BE49-F238E27FC236}">
                <a16:creationId xmlns:a16="http://schemas.microsoft.com/office/drawing/2014/main" id="{2500454D-C186-4846-88E2-F297E7B57C85}"/>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790000" y="180000"/>
            <a:ext cx="233304" cy="233273"/>
          </a:xfrm>
          <a:prstGeom prst="rect">
            <a:avLst/>
          </a:prstGeom>
        </p:spPr>
      </p:pic>
      <p:sp>
        <p:nvSpPr>
          <p:cNvPr id="5" name="Text Placeholder 3">
            <a:extLst>
              <a:ext uri="{FF2B5EF4-FFF2-40B4-BE49-F238E27FC236}">
                <a16:creationId xmlns:a16="http://schemas.microsoft.com/office/drawing/2014/main" id="{D8EA2D1D-70B6-8E45-941F-EE6A1EAA17A6}"/>
              </a:ext>
            </a:extLst>
          </p:cNvPr>
          <p:cNvSpPr>
            <a:spLocks noGrp="1"/>
          </p:cNvSpPr>
          <p:nvPr>
            <p:ph type="body" sz="quarter" idx="51" hasCustomPrompt="1"/>
          </p:nvPr>
        </p:nvSpPr>
        <p:spPr>
          <a:xfrm>
            <a:off x="359999" y="805904"/>
            <a:ext cx="11160000" cy="279692"/>
          </a:xfrm>
          <a:prstGeom prst="rect">
            <a:avLst/>
          </a:prstGeom>
        </p:spPr>
        <p:txBody>
          <a:bodyPr wrap="square">
            <a:spAutoFit/>
          </a:bodyPr>
          <a:lstStyle>
            <a:lvl1pPr>
              <a:defRPr sz="1800" b="0">
                <a:solidFill>
                  <a:schemeClr val="tx1">
                    <a:lumMod val="75000"/>
                    <a:lumOff val="25000"/>
                  </a:schemeClr>
                </a:solidFill>
                <a:latin typeface="+mn-lt"/>
              </a:defRPr>
            </a:lvl1pPr>
            <a:lvl2pPr>
              <a:defRPr sz="2800">
                <a:latin typeface="Graphik Semibold" panose="020B0703030202060203" pitchFamily="34" charset="0"/>
              </a:defRPr>
            </a:lvl2pPr>
          </a:lstStyle>
          <a:p>
            <a:pPr lvl="0"/>
            <a:r>
              <a:rPr lang="en-US"/>
              <a:t>Insert subtitle here</a:t>
            </a:r>
            <a:endParaRPr lang="en-GB"/>
          </a:p>
        </p:txBody>
      </p:sp>
      <p:sp>
        <p:nvSpPr>
          <p:cNvPr id="11" name="Text Placeholder 10">
            <a:extLst>
              <a:ext uri="{FF2B5EF4-FFF2-40B4-BE49-F238E27FC236}">
                <a16:creationId xmlns:a16="http://schemas.microsoft.com/office/drawing/2014/main" id="{F0562872-4444-4246-9CFD-6BE5200A33B6}"/>
              </a:ext>
            </a:extLst>
          </p:cNvPr>
          <p:cNvSpPr>
            <a:spLocks noGrp="1"/>
          </p:cNvSpPr>
          <p:nvPr>
            <p:ph type="body" sz="quarter" idx="52" hasCustomPrompt="1"/>
          </p:nvPr>
        </p:nvSpPr>
        <p:spPr>
          <a:xfrm>
            <a:off x="360364" y="6520402"/>
            <a:ext cx="3603712" cy="124329"/>
          </a:xfrm>
        </p:spPr>
        <p:txBody>
          <a:bodyPr wrap="square">
            <a:spAutoFit/>
          </a:bodyPr>
          <a:lstStyle>
            <a:lvl1pPr>
              <a:defRPr sz="800">
                <a:solidFill>
                  <a:schemeClr val="bg1">
                    <a:lumMod val="85000"/>
                  </a:schemeClr>
                </a:solidFill>
              </a:defRPr>
            </a:lvl1pPr>
          </a:lstStyle>
          <a:p>
            <a:pPr lvl="0"/>
            <a:r>
              <a:rPr lang="en-GB"/>
              <a:t>Label (e.g. for listing sources)</a:t>
            </a:r>
          </a:p>
        </p:txBody>
      </p:sp>
    </p:spTree>
    <p:extLst>
      <p:ext uri="{BB962C8B-B14F-4D97-AF65-F5344CB8AC3E}">
        <p14:creationId xmlns:p14="http://schemas.microsoft.com/office/powerpoint/2010/main" val="33263469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lank with CIX Glob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83EA732-9062-1341-B955-C5D4864331DC}"/>
              </a:ext>
            </a:extLst>
          </p:cNvPr>
          <p:cNvSpPr>
            <a:spLocks noGrp="1"/>
          </p:cNvSpPr>
          <p:nvPr>
            <p:ph type="sldNum" sz="quarter" idx="10"/>
          </p:nvPr>
        </p:nvSpPr>
        <p:spPr/>
        <p:txBody>
          <a:bodyPr/>
          <a:lstStyle/>
          <a:p>
            <a:fld id="{91AAFA88-51D8-4832-B4D0-D7122A7C4455}" type="slidenum">
              <a:rPr lang="en-SG" smtClean="0"/>
              <a:t>‹#›</a:t>
            </a:fld>
            <a:endParaRPr lang="en-SG"/>
          </a:p>
        </p:txBody>
      </p:sp>
      <p:pic>
        <p:nvPicPr>
          <p:cNvPr id="4" name="Graphic 3">
            <a:extLst>
              <a:ext uri="{FF2B5EF4-FFF2-40B4-BE49-F238E27FC236}">
                <a16:creationId xmlns:a16="http://schemas.microsoft.com/office/drawing/2014/main" id="{2500454D-C186-4846-88E2-F297E7B57C85}"/>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790000" y="180000"/>
            <a:ext cx="233304" cy="233273"/>
          </a:xfrm>
          <a:prstGeom prst="rect">
            <a:avLst/>
          </a:prstGeom>
        </p:spPr>
      </p:pic>
    </p:spTree>
    <p:extLst>
      <p:ext uri="{BB962C8B-B14F-4D97-AF65-F5344CB8AC3E}">
        <p14:creationId xmlns:p14="http://schemas.microsoft.com/office/powerpoint/2010/main" val="31496043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83EA732-9062-1341-B955-C5D4864331DC}"/>
              </a:ext>
            </a:extLst>
          </p:cNvPr>
          <p:cNvSpPr>
            <a:spLocks noGrp="1"/>
          </p:cNvSpPr>
          <p:nvPr>
            <p:ph type="sldNum" sz="quarter" idx="10"/>
          </p:nvPr>
        </p:nvSpPr>
        <p:spPr/>
        <p:txBody>
          <a:bodyPr/>
          <a:lstStyle/>
          <a:p>
            <a:fld id="{91AAFA88-51D8-4832-B4D0-D7122A7C4455}" type="slidenum">
              <a:rPr lang="en-SG" smtClean="0"/>
              <a:t>‹#›</a:t>
            </a:fld>
            <a:endParaRPr lang="en-SG"/>
          </a:p>
        </p:txBody>
      </p:sp>
    </p:spTree>
    <p:extLst>
      <p:ext uri="{BB962C8B-B14F-4D97-AF65-F5344CB8AC3E}">
        <p14:creationId xmlns:p14="http://schemas.microsoft.com/office/powerpoint/2010/main" val="12282874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64FD3E38-B86D-9A4A-B4BF-5ACE4DFF0885}"/>
              </a:ext>
            </a:extLst>
          </p:cNvPr>
          <p:cNvSpPr/>
          <p:nvPr/>
        </p:nvSpPr>
        <p:spPr>
          <a:xfrm>
            <a:off x="-913" y="-14749"/>
            <a:ext cx="4481473" cy="6872748"/>
          </a:xfrm>
          <a:custGeom>
            <a:avLst/>
            <a:gdLst>
              <a:gd name="connsiteX0" fmla="*/ 0 w 8052619"/>
              <a:gd name="connsiteY0" fmla="*/ 0 h 6946490"/>
              <a:gd name="connsiteX1" fmla="*/ 4232787 w 8052619"/>
              <a:gd name="connsiteY1" fmla="*/ 0 h 6946490"/>
              <a:gd name="connsiteX2" fmla="*/ 8052619 w 8052619"/>
              <a:gd name="connsiteY2" fmla="*/ 6946490 h 6946490"/>
              <a:gd name="connsiteX3" fmla="*/ 14748 w 8052619"/>
              <a:gd name="connsiteY3" fmla="*/ 6946490 h 6946490"/>
              <a:gd name="connsiteX4" fmla="*/ 0 w 8052619"/>
              <a:gd name="connsiteY4" fmla="*/ 0 h 6946490"/>
              <a:gd name="connsiteX0" fmla="*/ 0 w 8052619"/>
              <a:gd name="connsiteY0" fmla="*/ 0 h 6946490"/>
              <a:gd name="connsiteX1" fmla="*/ 4232787 w 8052619"/>
              <a:gd name="connsiteY1" fmla="*/ 0 h 6946490"/>
              <a:gd name="connsiteX2" fmla="*/ 8052619 w 8052619"/>
              <a:gd name="connsiteY2" fmla="*/ 6946490 h 6946490"/>
              <a:gd name="connsiteX3" fmla="*/ 7253 w 8052619"/>
              <a:gd name="connsiteY3" fmla="*/ 6946490 h 6946490"/>
              <a:gd name="connsiteX4" fmla="*/ 0 w 8052619"/>
              <a:gd name="connsiteY4" fmla="*/ 0 h 6946490"/>
              <a:gd name="connsiteX0" fmla="*/ 913 w 8053532"/>
              <a:gd name="connsiteY0" fmla="*/ 0 h 6946490"/>
              <a:gd name="connsiteX1" fmla="*/ 4233700 w 8053532"/>
              <a:gd name="connsiteY1" fmla="*/ 0 h 6946490"/>
              <a:gd name="connsiteX2" fmla="*/ 8053532 w 8053532"/>
              <a:gd name="connsiteY2" fmla="*/ 6946490 h 6946490"/>
              <a:gd name="connsiteX3" fmla="*/ 671 w 8053532"/>
              <a:gd name="connsiteY3" fmla="*/ 6946490 h 6946490"/>
              <a:gd name="connsiteX4" fmla="*/ 913 w 8053532"/>
              <a:gd name="connsiteY4" fmla="*/ 0 h 6946490"/>
              <a:gd name="connsiteX0" fmla="*/ 913 w 8053532"/>
              <a:gd name="connsiteY0" fmla="*/ 0 h 6946490"/>
              <a:gd name="connsiteX1" fmla="*/ 6398402 w 8053532"/>
              <a:gd name="connsiteY1" fmla="*/ 18861 h 6946490"/>
              <a:gd name="connsiteX2" fmla="*/ 8053532 w 8053532"/>
              <a:gd name="connsiteY2" fmla="*/ 6946490 h 6946490"/>
              <a:gd name="connsiteX3" fmla="*/ 671 w 8053532"/>
              <a:gd name="connsiteY3" fmla="*/ 6946490 h 6946490"/>
              <a:gd name="connsiteX4" fmla="*/ 913 w 8053532"/>
              <a:gd name="connsiteY4" fmla="*/ 0 h 6946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3532" h="6946490">
                <a:moveTo>
                  <a:pt x="913" y="0"/>
                </a:moveTo>
                <a:lnTo>
                  <a:pt x="6398402" y="18861"/>
                </a:lnTo>
                <a:lnTo>
                  <a:pt x="8053532" y="6946490"/>
                </a:lnTo>
                <a:lnTo>
                  <a:pt x="671" y="6946490"/>
                </a:lnTo>
                <a:cubicBezTo>
                  <a:pt x="-1747" y="4630993"/>
                  <a:pt x="3331" y="2315497"/>
                  <a:pt x="913" y="0"/>
                </a:cubicBezTo>
                <a:close/>
              </a:path>
            </a:pathLst>
          </a:custGeom>
          <a:gradFill>
            <a:gsLst>
              <a:gs pos="40000">
                <a:srgbClr val="254A91"/>
              </a:gs>
              <a:gs pos="100000">
                <a:srgbClr val="19415B"/>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D9EF8295-4CE4-400F-B433-706E401B4F06}"/>
              </a:ext>
            </a:extLst>
          </p:cNvPr>
          <p:cNvSpPr>
            <a:spLocks noGrp="1"/>
          </p:cNvSpPr>
          <p:nvPr>
            <p:ph type="sldNum" sz="quarter" idx="10"/>
          </p:nvPr>
        </p:nvSpPr>
        <p:spPr/>
        <p:txBody>
          <a:bodyPr/>
          <a:lstStyle/>
          <a:p>
            <a:fld id="{91AAFA88-51D8-4832-B4D0-D7122A7C4455}" type="slidenum">
              <a:rPr lang="en-SG" smtClean="0"/>
              <a:t>‹#›</a:t>
            </a:fld>
            <a:endParaRPr lang="en-SG"/>
          </a:p>
        </p:txBody>
      </p:sp>
      <p:sp>
        <p:nvSpPr>
          <p:cNvPr id="6" name="Text Placeholder 2">
            <a:extLst>
              <a:ext uri="{FF2B5EF4-FFF2-40B4-BE49-F238E27FC236}">
                <a16:creationId xmlns:a16="http://schemas.microsoft.com/office/drawing/2014/main" id="{D566799A-78C5-4D25-B1BC-749C662B52E9}"/>
              </a:ext>
            </a:extLst>
          </p:cNvPr>
          <p:cNvSpPr>
            <a:spLocks noGrp="1"/>
          </p:cNvSpPr>
          <p:nvPr>
            <p:ph type="body" sz="quarter" idx="37" hasCustomPrompt="1"/>
          </p:nvPr>
        </p:nvSpPr>
        <p:spPr>
          <a:xfrm>
            <a:off x="550144" y="2838099"/>
            <a:ext cx="2820074" cy="1167051"/>
          </a:xfrm>
          <a:prstGeom prst="rect">
            <a:avLst/>
          </a:prstGeom>
        </p:spPr>
        <p:txBody>
          <a:bodyPr wrap="square">
            <a:spAutoFit/>
          </a:bodyPr>
          <a:lstStyle>
            <a:lvl1pPr algn="l">
              <a:lnSpc>
                <a:spcPct val="110000"/>
              </a:lnSpc>
              <a:spcBef>
                <a:spcPts val="400"/>
              </a:spcBef>
              <a:spcAft>
                <a:spcPts val="400"/>
              </a:spcAft>
              <a:defRPr sz="3600" b="1">
                <a:solidFill>
                  <a:schemeClr val="bg1"/>
                </a:solidFill>
                <a:latin typeface="+mj-lt"/>
              </a:defRPr>
            </a:lvl1pPr>
            <a:lvl2pPr algn="r">
              <a:lnSpc>
                <a:spcPct val="110000"/>
              </a:lnSpc>
              <a:spcBef>
                <a:spcPts val="400"/>
              </a:spcBef>
              <a:spcAft>
                <a:spcPts val="400"/>
              </a:spcAft>
              <a:defRPr sz="2400"/>
            </a:lvl2pPr>
            <a:lvl3pPr>
              <a:lnSpc>
                <a:spcPct val="110000"/>
              </a:lnSpc>
              <a:spcBef>
                <a:spcPts val="400"/>
              </a:spcBef>
              <a:spcAft>
                <a:spcPts val="400"/>
              </a:spcAft>
              <a:defRPr sz="1600"/>
            </a:lvl3pPr>
            <a:lvl4pPr>
              <a:lnSpc>
                <a:spcPct val="110000"/>
              </a:lnSpc>
              <a:spcBef>
                <a:spcPts val="400"/>
              </a:spcBef>
              <a:spcAft>
                <a:spcPts val="400"/>
              </a:spcAft>
              <a:defRPr sz="1600"/>
            </a:lvl4pPr>
            <a:lvl5pPr>
              <a:lnSpc>
                <a:spcPct val="110000"/>
              </a:lnSpc>
              <a:spcBef>
                <a:spcPts val="400"/>
              </a:spcBef>
              <a:spcAft>
                <a:spcPts val="400"/>
              </a:spcAft>
              <a:defRPr sz="1600"/>
            </a:lvl5pPr>
          </a:lstStyle>
          <a:p>
            <a:pPr lvl="0"/>
            <a:r>
              <a:rPr lang="en-US"/>
              <a:t>Table of contents</a:t>
            </a:r>
          </a:p>
        </p:txBody>
      </p:sp>
      <p:pic>
        <p:nvPicPr>
          <p:cNvPr id="13" name="Graphic 12">
            <a:extLst>
              <a:ext uri="{FF2B5EF4-FFF2-40B4-BE49-F238E27FC236}">
                <a16:creationId xmlns:a16="http://schemas.microsoft.com/office/drawing/2014/main" id="{740457D9-AAD0-3F47-A368-FA6C946E19C6}"/>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790000" y="180000"/>
            <a:ext cx="233304" cy="233273"/>
          </a:xfrm>
          <a:prstGeom prst="rect">
            <a:avLst/>
          </a:prstGeom>
        </p:spPr>
      </p:pic>
      <p:sp>
        <p:nvSpPr>
          <p:cNvPr id="9" name="Text Placeholder 7">
            <a:extLst>
              <a:ext uri="{FF2B5EF4-FFF2-40B4-BE49-F238E27FC236}">
                <a16:creationId xmlns:a16="http://schemas.microsoft.com/office/drawing/2014/main" id="{2E651E94-3D12-0348-BB52-366D9DC9F7EA}"/>
              </a:ext>
            </a:extLst>
          </p:cNvPr>
          <p:cNvSpPr>
            <a:spLocks noGrp="1"/>
          </p:cNvSpPr>
          <p:nvPr>
            <p:ph type="body" sz="quarter" idx="52" hasCustomPrompt="1"/>
          </p:nvPr>
        </p:nvSpPr>
        <p:spPr>
          <a:xfrm>
            <a:off x="5240623" y="1058091"/>
            <a:ext cx="6228034" cy="5349909"/>
          </a:xfrm>
        </p:spPr>
        <p:txBody>
          <a:bodyPr/>
          <a:lstStyle>
            <a:lvl1pPr marL="457200" marR="0" indent="-457200" algn="l" defTabSz="914400" rtl="0" eaLnBrk="1" fontAlgn="auto" latinLnBrk="0" hangingPunct="1">
              <a:lnSpc>
                <a:spcPct val="110000"/>
              </a:lnSpc>
              <a:spcBef>
                <a:spcPts val="400"/>
              </a:spcBef>
              <a:spcAft>
                <a:spcPts val="400"/>
              </a:spcAft>
              <a:buClr>
                <a:schemeClr val="accent4">
                  <a:lumMod val="60000"/>
                  <a:lumOff val="40000"/>
                </a:schemeClr>
              </a:buClr>
              <a:buSzTx/>
              <a:buFont typeface="+mj-lt"/>
              <a:buAutoNum type="arabicPeriod"/>
              <a:tabLst/>
              <a:defRPr sz="2400"/>
            </a:lvl1pPr>
            <a:lvl2pPr>
              <a:defRPr sz="2400"/>
            </a:lvl2pPr>
            <a:lvl3pPr>
              <a:defRPr sz="2400"/>
            </a:lvl3pPr>
            <a:lvl4pPr>
              <a:defRPr sz="2400"/>
            </a:lvl4pPr>
            <a:lvl5pPr>
              <a:defRPr sz="2400"/>
            </a:lvl5pPr>
          </a:lstStyle>
          <a:p>
            <a:pPr lvl="0"/>
            <a:r>
              <a:rPr lang="en-GB"/>
              <a:t>Section 1</a:t>
            </a:r>
          </a:p>
          <a:p>
            <a:pPr lvl="0"/>
            <a:r>
              <a:rPr lang="en-GB"/>
              <a:t>Section 2</a:t>
            </a:r>
          </a:p>
          <a:p>
            <a:pPr lvl="0"/>
            <a:r>
              <a:rPr lang="en-GB"/>
              <a:t>Section 3</a:t>
            </a:r>
          </a:p>
          <a:p>
            <a:pPr lvl="0"/>
            <a:r>
              <a:rPr lang="en-GB"/>
              <a:t>Section 4</a:t>
            </a:r>
          </a:p>
        </p:txBody>
      </p:sp>
    </p:spTree>
    <p:extLst>
      <p:ext uri="{BB962C8B-B14F-4D97-AF65-F5344CB8AC3E}">
        <p14:creationId xmlns:p14="http://schemas.microsoft.com/office/powerpoint/2010/main" val="4946204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5_Custom Layout">
    <p:spTree>
      <p:nvGrpSpPr>
        <p:cNvPr id="1" name=""/>
        <p:cNvGrpSpPr/>
        <p:nvPr/>
      </p:nvGrpSpPr>
      <p:grpSpPr>
        <a:xfrm>
          <a:off x="0" y="0"/>
          <a:ext cx="0" cy="0"/>
          <a:chOff x="0" y="0"/>
          <a:chExt cx="0" cy="0"/>
        </a:xfrm>
      </p:grpSpPr>
      <p:pic>
        <p:nvPicPr>
          <p:cNvPr id="10" name="Picture 9" descr="A picture containing tree, plant, forest, broccoli&#10;&#10;Description automatically generated">
            <a:extLst>
              <a:ext uri="{FF2B5EF4-FFF2-40B4-BE49-F238E27FC236}">
                <a16:creationId xmlns:a16="http://schemas.microsoft.com/office/drawing/2014/main" id="{1B5D1884-6DA0-114A-B7EE-454811833CF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3048"/>
            <a:ext cx="12192000" cy="6851904"/>
          </a:xfrm>
          <a:prstGeom prst="rect">
            <a:avLst/>
          </a:prstGeom>
        </p:spPr>
      </p:pic>
      <p:sp>
        <p:nvSpPr>
          <p:cNvPr id="2" name="Freeform 1">
            <a:extLst>
              <a:ext uri="{FF2B5EF4-FFF2-40B4-BE49-F238E27FC236}">
                <a16:creationId xmlns:a16="http://schemas.microsoft.com/office/drawing/2014/main" id="{64FD3E38-B86D-9A4A-B4BF-5ACE4DFF0885}"/>
              </a:ext>
            </a:extLst>
          </p:cNvPr>
          <p:cNvSpPr/>
          <p:nvPr/>
        </p:nvSpPr>
        <p:spPr>
          <a:xfrm>
            <a:off x="-913" y="-14749"/>
            <a:ext cx="8249174" cy="6872748"/>
          </a:xfrm>
          <a:custGeom>
            <a:avLst/>
            <a:gdLst>
              <a:gd name="connsiteX0" fmla="*/ 0 w 8052619"/>
              <a:gd name="connsiteY0" fmla="*/ 0 h 6946490"/>
              <a:gd name="connsiteX1" fmla="*/ 4232787 w 8052619"/>
              <a:gd name="connsiteY1" fmla="*/ 0 h 6946490"/>
              <a:gd name="connsiteX2" fmla="*/ 8052619 w 8052619"/>
              <a:gd name="connsiteY2" fmla="*/ 6946490 h 6946490"/>
              <a:gd name="connsiteX3" fmla="*/ 14748 w 8052619"/>
              <a:gd name="connsiteY3" fmla="*/ 6946490 h 6946490"/>
              <a:gd name="connsiteX4" fmla="*/ 0 w 8052619"/>
              <a:gd name="connsiteY4" fmla="*/ 0 h 6946490"/>
              <a:gd name="connsiteX0" fmla="*/ 0 w 8052619"/>
              <a:gd name="connsiteY0" fmla="*/ 0 h 6946490"/>
              <a:gd name="connsiteX1" fmla="*/ 4232787 w 8052619"/>
              <a:gd name="connsiteY1" fmla="*/ 0 h 6946490"/>
              <a:gd name="connsiteX2" fmla="*/ 8052619 w 8052619"/>
              <a:gd name="connsiteY2" fmla="*/ 6946490 h 6946490"/>
              <a:gd name="connsiteX3" fmla="*/ 7253 w 8052619"/>
              <a:gd name="connsiteY3" fmla="*/ 6946490 h 6946490"/>
              <a:gd name="connsiteX4" fmla="*/ 0 w 8052619"/>
              <a:gd name="connsiteY4" fmla="*/ 0 h 6946490"/>
              <a:gd name="connsiteX0" fmla="*/ 913 w 8053532"/>
              <a:gd name="connsiteY0" fmla="*/ 0 h 6946490"/>
              <a:gd name="connsiteX1" fmla="*/ 4233700 w 8053532"/>
              <a:gd name="connsiteY1" fmla="*/ 0 h 6946490"/>
              <a:gd name="connsiteX2" fmla="*/ 8053532 w 8053532"/>
              <a:gd name="connsiteY2" fmla="*/ 6946490 h 6946490"/>
              <a:gd name="connsiteX3" fmla="*/ 671 w 8053532"/>
              <a:gd name="connsiteY3" fmla="*/ 6946490 h 6946490"/>
              <a:gd name="connsiteX4" fmla="*/ 913 w 8053532"/>
              <a:gd name="connsiteY4" fmla="*/ 0 h 6946490"/>
              <a:gd name="connsiteX0" fmla="*/ 913 w 8053532"/>
              <a:gd name="connsiteY0" fmla="*/ 0 h 6946490"/>
              <a:gd name="connsiteX1" fmla="*/ 6398402 w 8053532"/>
              <a:gd name="connsiteY1" fmla="*/ 18861 h 6946490"/>
              <a:gd name="connsiteX2" fmla="*/ 8053532 w 8053532"/>
              <a:gd name="connsiteY2" fmla="*/ 6946490 h 6946490"/>
              <a:gd name="connsiteX3" fmla="*/ 671 w 8053532"/>
              <a:gd name="connsiteY3" fmla="*/ 6946490 h 6946490"/>
              <a:gd name="connsiteX4" fmla="*/ 913 w 8053532"/>
              <a:gd name="connsiteY4" fmla="*/ 0 h 6946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3532" h="6946490">
                <a:moveTo>
                  <a:pt x="913" y="0"/>
                </a:moveTo>
                <a:lnTo>
                  <a:pt x="6398402" y="18861"/>
                </a:lnTo>
                <a:lnTo>
                  <a:pt x="8053532" y="6946490"/>
                </a:lnTo>
                <a:lnTo>
                  <a:pt x="671" y="6946490"/>
                </a:lnTo>
                <a:cubicBezTo>
                  <a:pt x="-1747" y="4630993"/>
                  <a:pt x="3331" y="2315497"/>
                  <a:pt x="913" y="0"/>
                </a:cubicBezTo>
                <a:close/>
              </a:path>
            </a:pathLst>
          </a:custGeom>
          <a:gradFill>
            <a:gsLst>
              <a:gs pos="40000">
                <a:srgbClr val="254A91"/>
              </a:gs>
              <a:gs pos="100000">
                <a:srgbClr val="19415B"/>
              </a:gs>
            </a:gsLst>
            <a:lin ang="2700000" scaled="0"/>
          </a:gradFill>
          <a:ln>
            <a:noFill/>
          </a:ln>
          <a:effectLst>
            <a:outerShdw blurRad="254000" dist="63500" sx="99807" sy="99807" algn="ctr"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D9EF8295-4CE4-400F-B433-706E401B4F06}"/>
              </a:ext>
            </a:extLst>
          </p:cNvPr>
          <p:cNvSpPr>
            <a:spLocks noGrp="1"/>
          </p:cNvSpPr>
          <p:nvPr>
            <p:ph type="sldNum" sz="quarter" idx="10"/>
          </p:nvPr>
        </p:nvSpPr>
        <p:spPr/>
        <p:txBody>
          <a:bodyPr/>
          <a:lstStyle/>
          <a:p>
            <a:fld id="{91AAFA88-51D8-4832-B4D0-D7122A7C4455}" type="slidenum">
              <a:rPr lang="en-SG" smtClean="0"/>
              <a:t>‹#›</a:t>
            </a:fld>
            <a:endParaRPr lang="en-SG"/>
          </a:p>
        </p:txBody>
      </p:sp>
      <p:sp>
        <p:nvSpPr>
          <p:cNvPr id="6" name="Text Placeholder 2">
            <a:extLst>
              <a:ext uri="{FF2B5EF4-FFF2-40B4-BE49-F238E27FC236}">
                <a16:creationId xmlns:a16="http://schemas.microsoft.com/office/drawing/2014/main" id="{D566799A-78C5-4D25-B1BC-749C662B52E9}"/>
              </a:ext>
            </a:extLst>
          </p:cNvPr>
          <p:cNvSpPr>
            <a:spLocks noGrp="1"/>
          </p:cNvSpPr>
          <p:nvPr>
            <p:ph type="body" sz="quarter" idx="37" hasCustomPrompt="1"/>
          </p:nvPr>
        </p:nvSpPr>
        <p:spPr>
          <a:xfrm>
            <a:off x="550143" y="3149275"/>
            <a:ext cx="5253498" cy="557653"/>
          </a:xfrm>
          <a:prstGeom prst="rect">
            <a:avLst/>
          </a:prstGeom>
        </p:spPr>
        <p:txBody>
          <a:bodyPr wrap="square">
            <a:spAutoFit/>
          </a:bodyPr>
          <a:lstStyle>
            <a:lvl1pPr algn="l">
              <a:lnSpc>
                <a:spcPct val="110000"/>
              </a:lnSpc>
              <a:spcBef>
                <a:spcPts val="400"/>
              </a:spcBef>
              <a:spcAft>
                <a:spcPts val="400"/>
              </a:spcAft>
              <a:defRPr sz="3600" b="1">
                <a:solidFill>
                  <a:schemeClr val="bg1"/>
                </a:solidFill>
                <a:latin typeface="+mj-lt"/>
              </a:defRPr>
            </a:lvl1pPr>
            <a:lvl2pPr algn="r">
              <a:lnSpc>
                <a:spcPct val="110000"/>
              </a:lnSpc>
              <a:spcBef>
                <a:spcPts val="400"/>
              </a:spcBef>
              <a:spcAft>
                <a:spcPts val="400"/>
              </a:spcAft>
              <a:defRPr sz="2400"/>
            </a:lvl2pPr>
            <a:lvl3pPr>
              <a:lnSpc>
                <a:spcPct val="110000"/>
              </a:lnSpc>
              <a:spcBef>
                <a:spcPts val="400"/>
              </a:spcBef>
              <a:spcAft>
                <a:spcPts val="400"/>
              </a:spcAft>
              <a:defRPr sz="1600"/>
            </a:lvl3pPr>
            <a:lvl4pPr>
              <a:lnSpc>
                <a:spcPct val="110000"/>
              </a:lnSpc>
              <a:spcBef>
                <a:spcPts val="400"/>
              </a:spcBef>
              <a:spcAft>
                <a:spcPts val="400"/>
              </a:spcAft>
              <a:defRPr sz="1600"/>
            </a:lvl4pPr>
            <a:lvl5pPr>
              <a:lnSpc>
                <a:spcPct val="110000"/>
              </a:lnSpc>
              <a:spcBef>
                <a:spcPts val="400"/>
              </a:spcBef>
              <a:spcAft>
                <a:spcPts val="400"/>
              </a:spcAft>
              <a:defRPr sz="1600"/>
            </a:lvl5pPr>
          </a:lstStyle>
          <a:p>
            <a:pPr lvl="0"/>
            <a:r>
              <a:rPr lang="en-US"/>
              <a:t>Insert divider title here</a:t>
            </a:r>
          </a:p>
        </p:txBody>
      </p:sp>
      <p:sp>
        <p:nvSpPr>
          <p:cNvPr id="7" name="Text Placeholder 2">
            <a:extLst>
              <a:ext uri="{FF2B5EF4-FFF2-40B4-BE49-F238E27FC236}">
                <a16:creationId xmlns:a16="http://schemas.microsoft.com/office/drawing/2014/main" id="{5863E795-C5C9-408B-AD31-6B9168CCE2C1}"/>
              </a:ext>
            </a:extLst>
          </p:cNvPr>
          <p:cNvSpPr>
            <a:spLocks noGrp="1"/>
          </p:cNvSpPr>
          <p:nvPr>
            <p:ph type="body" sz="quarter" idx="38" hasCustomPrompt="1"/>
          </p:nvPr>
        </p:nvSpPr>
        <p:spPr>
          <a:xfrm>
            <a:off x="550143" y="4862925"/>
            <a:ext cx="4009158" cy="279692"/>
          </a:xfrm>
          <a:prstGeom prst="rect">
            <a:avLst/>
          </a:prstGeom>
        </p:spPr>
        <p:txBody>
          <a:bodyPr wrap="square">
            <a:spAutoFit/>
          </a:bodyPr>
          <a:lstStyle>
            <a:lvl1pPr algn="l">
              <a:lnSpc>
                <a:spcPct val="110000"/>
              </a:lnSpc>
              <a:spcBef>
                <a:spcPts val="400"/>
              </a:spcBef>
              <a:spcAft>
                <a:spcPts val="400"/>
              </a:spcAft>
              <a:defRPr sz="1800" b="0">
                <a:solidFill>
                  <a:schemeClr val="bg1">
                    <a:lumMod val="85000"/>
                  </a:schemeClr>
                </a:solidFill>
                <a:latin typeface="+mj-lt"/>
              </a:defRPr>
            </a:lvl1pPr>
            <a:lvl2pPr algn="r">
              <a:lnSpc>
                <a:spcPct val="110000"/>
              </a:lnSpc>
              <a:spcBef>
                <a:spcPts val="400"/>
              </a:spcBef>
              <a:spcAft>
                <a:spcPts val="400"/>
              </a:spcAft>
              <a:defRPr sz="2400"/>
            </a:lvl2pPr>
            <a:lvl3pPr>
              <a:lnSpc>
                <a:spcPct val="110000"/>
              </a:lnSpc>
              <a:spcBef>
                <a:spcPts val="400"/>
              </a:spcBef>
              <a:spcAft>
                <a:spcPts val="400"/>
              </a:spcAft>
              <a:defRPr sz="1600"/>
            </a:lvl3pPr>
            <a:lvl4pPr>
              <a:lnSpc>
                <a:spcPct val="110000"/>
              </a:lnSpc>
              <a:spcBef>
                <a:spcPts val="400"/>
              </a:spcBef>
              <a:spcAft>
                <a:spcPts val="400"/>
              </a:spcAft>
              <a:defRPr sz="1600"/>
            </a:lvl4pPr>
            <a:lvl5pPr>
              <a:lnSpc>
                <a:spcPct val="110000"/>
              </a:lnSpc>
              <a:spcBef>
                <a:spcPts val="400"/>
              </a:spcBef>
              <a:spcAft>
                <a:spcPts val="400"/>
              </a:spcAft>
              <a:defRPr sz="1600"/>
            </a:lvl5pPr>
          </a:lstStyle>
          <a:p>
            <a:pPr lvl="0"/>
            <a:r>
              <a:rPr lang="en-US"/>
              <a:t>Insert subtitle text here</a:t>
            </a:r>
          </a:p>
        </p:txBody>
      </p:sp>
      <p:pic>
        <p:nvPicPr>
          <p:cNvPr id="13" name="Graphic 12">
            <a:extLst>
              <a:ext uri="{FF2B5EF4-FFF2-40B4-BE49-F238E27FC236}">
                <a16:creationId xmlns:a16="http://schemas.microsoft.com/office/drawing/2014/main" id="{740457D9-AAD0-3F47-A368-FA6C946E19C6}"/>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0143" y="432125"/>
            <a:ext cx="342561" cy="342515"/>
          </a:xfrm>
          <a:prstGeom prst="rect">
            <a:avLst/>
          </a:prstGeom>
        </p:spPr>
      </p:pic>
    </p:spTree>
    <p:extLst>
      <p:ext uri="{BB962C8B-B14F-4D97-AF65-F5344CB8AC3E}">
        <p14:creationId xmlns:p14="http://schemas.microsoft.com/office/powerpoint/2010/main" val="19611467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pic>
        <p:nvPicPr>
          <p:cNvPr id="4" name="Picture 3" descr="A picture containing tree, outdoor, mountain, nature&#10;&#10;Description automatically generated">
            <a:extLst>
              <a:ext uri="{FF2B5EF4-FFF2-40B4-BE49-F238E27FC236}">
                <a16:creationId xmlns:a16="http://schemas.microsoft.com/office/drawing/2014/main" id="{5FE6D12A-A412-E741-AFAD-24BC433ABB5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1904"/>
          </a:xfrm>
          <a:prstGeom prst="rect">
            <a:avLst/>
          </a:prstGeom>
        </p:spPr>
      </p:pic>
      <p:sp>
        <p:nvSpPr>
          <p:cNvPr id="3" name="Slide Number Placeholder 2">
            <a:extLst>
              <a:ext uri="{FF2B5EF4-FFF2-40B4-BE49-F238E27FC236}">
                <a16:creationId xmlns:a16="http://schemas.microsoft.com/office/drawing/2014/main" id="{587215FC-CF83-4305-BA64-80D044B5A477}"/>
              </a:ext>
            </a:extLst>
          </p:cNvPr>
          <p:cNvSpPr>
            <a:spLocks noGrp="1"/>
          </p:cNvSpPr>
          <p:nvPr>
            <p:ph type="sldNum" sz="quarter" idx="10"/>
          </p:nvPr>
        </p:nvSpPr>
        <p:spPr/>
        <p:txBody>
          <a:bodyPr/>
          <a:lstStyle/>
          <a:p>
            <a:fld id="{91AAFA88-51D8-4832-B4D0-D7122A7C4455}" type="slidenum">
              <a:rPr lang="en-SG" smtClean="0"/>
              <a:t>‹#›</a:t>
            </a:fld>
            <a:endParaRPr lang="en-SG"/>
          </a:p>
        </p:txBody>
      </p:sp>
      <p:sp>
        <p:nvSpPr>
          <p:cNvPr id="5" name="Title 4">
            <a:extLst>
              <a:ext uri="{FF2B5EF4-FFF2-40B4-BE49-F238E27FC236}">
                <a16:creationId xmlns:a16="http://schemas.microsoft.com/office/drawing/2014/main" id="{E0B7F010-9701-4A23-A0E3-4E61A757AAD3}"/>
              </a:ext>
            </a:extLst>
          </p:cNvPr>
          <p:cNvSpPr>
            <a:spLocks noGrp="1"/>
          </p:cNvSpPr>
          <p:nvPr>
            <p:ph type="title" hasCustomPrompt="1"/>
          </p:nvPr>
        </p:nvSpPr>
        <p:spPr>
          <a:xfrm>
            <a:off x="762000" y="3170467"/>
            <a:ext cx="8104188" cy="517065"/>
          </a:xfrm>
          <a:prstGeom prst="rect">
            <a:avLst/>
          </a:prstGeom>
        </p:spPr>
        <p:txBody>
          <a:bodyPr wrap="square">
            <a:spAutoFit/>
          </a:bodyPr>
          <a:lstStyle>
            <a:lvl1pPr>
              <a:lnSpc>
                <a:spcPct val="80000"/>
              </a:lnSpc>
              <a:defRPr sz="4200" spc="80" baseline="0">
                <a:solidFill>
                  <a:schemeClr val="bg1"/>
                </a:solidFill>
              </a:defRPr>
            </a:lvl1pPr>
          </a:lstStyle>
          <a:p>
            <a:r>
              <a:rPr lang="en-US"/>
              <a:t>Thank you</a:t>
            </a:r>
            <a:endParaRPr lang="en-GB"/>
          </a:p>
        </p:txBody>
      </p:sp>
      <p:pic>
        <p:nvPicPr>
          <p:cNvPr id="9" name="Picture 8" descr="A picture containing graphical user interface&#10;&#10;Description automatically generated">
            <a:extLst>
              <a:ext uri="{FF2B5EF4-FFF2-40B4-BE49-F238E27FC236}">
                <a16:creationId xmlns:a16="http://schemas.microsoft.com/office/drawing/2014/main" id="{5A7DF5D7-9F29-5943-A12D-59339C4FCD9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579428" y="5129704"/>
            <a:ext cx="2020381" cy="668747"/>
          </a:xfrm>
          <a:prstGeom prst="rect">
            <a:avLst/>
          </a:prstGeom>
        </p:spPr>
      </p:pic>
      <p:sp>
        <p:nvSpPr>
          <p:cNvPr id="10" name="Rectangle 9">
            <a:extLst>
              <a:ext uri="{FF2B5EF4-FFF2-40B4-BE49-F238E27FC236}">
                <a16:creationId xmlns:a16="http://schemas.microsoft.com/office/drawing/2014/main" id="{CE360A9C-A838-154E-AF8B-3D56198B9ECA}"/>
              </a:ext>
            </a:extLst>
          </p:cNvPr>
          <p:cNvSpPr/>
          <p:nvPr/>
        </p:nvSpPr>
        <p:spPr>
          <a:xfrm>
            <a:off x="9035143" y="5976373"/>
            <a:ext cx="2536670" cy="369332"/>
          </a:xfrm>
          <a:prstGeom prst="rect">
            <a:avLst/>
          </a:prstGeom>
        </p:spPr>
        <p:txBody>
          <a:bodyPr wrap="square" lIns="0" tIns="0" rIns="0" bIns="0">
            <a:spAutoFit/>
          </a:bodyPr>
          <a:lstStyle/>
          <a:p>
            <a:pPr lvl="0" algn="r">
              <a:buSzPts val="1400"/>
            </a:pPr>
            <a:r>
              <a:rPr lang="en-SG" sz="1200" b="1" spc="-20">
                <a:solidFill>
                  <a:schemeClr val="bg1"/>
                </a:solidFill>
                <a:latin typeface="Century Gothic" panose="020B0502020202020204" pitchFamily="34" charset="0"/>
                <a:sym typeface="Century Gothic"/>
                <a:hlinkClick r:id="rId4">
                  <a:extLst>
                    <a:ext uri="{A12FA001-AC4F-418D-AE19-62706E023703}">
                      <ahyp:hlinkClr xmlns:ahyp="http://schemas.microsoft.com/office/drawing/2018/hyperlinkcolor" val="tx"/>
                    </a:ext>
                  </a:extLst>
                </a:hlinkClick>
              </a:rPr>
              <a:t>climateimpactx.com</a:t>
            </a:r>
            <a:endParaRPr lang="en-SG" sz="1200" b="1" spc="-20">
              <a:solidFill>
                <a:schemeClr val="bg1"/>
              </a:solidFill>
              <a:latin typeface="Century Gothic" panose="020B0502020202020204" pitchFamily="34" charset="0"/>
              <a:sym typeface="Century Gothic"/>
            </a:endParaRPr>
          </a:p>
          <a:p>
            <a:pPr lvl="0" algn="r">
              <a:buSzPts val="1400"/>
            </a:pPr>
            <a:r>
              <a:rPr lang="en-SG" sz="1200" spc="-20">
                <a:solidFill>
                  <a:schemeClr val="bg1"/>
                </a:solidFill>
                <a:latin typeface="Century Gothic" panose="020B0502020202020204" pitchFamily="34" charset="0"/>
                <a:sym typeface="Century Gothic"/>
                <a:hlinkClick r:id="rId5">
                  <a:extLst>
                    <a:ext uri="{A12FA001-AC4F-418D-AE19-62706E023703}">
                      <ahyp:hlinkClr xmlns:ahyp="http://schemas.microsoft.com/office/drawing/2018/hyperlinkcolor" val="tx"/>
                    </a:ext>
                  </a:extLst>
                </a:hlinkClick>
              </a:rPr>
              <a:t>contact.us@climateimpactx.com</a:t>
            </a:r>
            <a:endParaRPr lang="en-SG" sz="1200" spc="-20">
              <a:solidFill>
                <a:schemeClr val="bg1"/>
              </a:solidFill>
              <a:latin typeface="Century Gothic" panose="020B0502020202020204" pitchFamily="34" charset="0"/>
              <a:sym typeface="Century Gothic"/>
            </a:endParaRPr>
          </a:p>
        </p:txBody>
      </p:sp>
    </p:spTree>
    <p:extLst>
      <p:ext uri="{BB962C8B-B14F-4D97-AF65-F5344CB8AC3E}">
        <p14:creationId xmlns:p14="http://schemas.microsoft.com/office/powerpoint/2010/main" val="334873904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Icon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F5A250B-10B2-42E6-8D52-F90217212525}"/>
              </a:ext>
            </a:extLst>
          </p:cNvPr>
          <p:cNvSpPr>
            <a:spLocks noGrp="1"/>
          </p:cNvSpPr>
          <p:nvPr>
            <p:ph type="sldNum" sz="quarter" idx="11"/>
          </p:nvPr>
        </p:nvSpPr>
        <p:spPr/>
        <p:txBody>
          <a:bodyPr/>
          <a:lstStyle/>
          <a:p>
            <a:fld id="{91AAFA88-51D8-4832-B4D0-D7122A7C4455}" type="slidenum">
              <a:rPr lang="en-SG" smtClean="0"/>
              <a:t>‹#›</a:t>
            </a:fld>
            <a:endParaRPr lang="en-SG"/>
          </a:p>
        </p:txBody>
      </p:sp>
      <p:sp>
        <p:nvSpPr>
          <p:cNvPr id="4" name="Rectangle 3"/>
          <p:cNvSpPr/>
          <p:nvPr/>
        </p:nvSpPr>
        <p:spPr>
          <a:xfrm>
            <a:off x="263525" y="260350"/>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 name="Rectangle 4"/>
          <p:cNvSpPr/>
          <p:nvPr/>
        </p:nvSpPr>
        <p:spPr>
          <a:xfrm>
            <a:off x="1243931" y="260350"/>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Rectangle 5"/>
          <p:cNvSpPr/>
          <p:nvPr/>
        </p:nvSpPr>
        <p:spPr>
          <a:xfrm>
            <a:off x="2224336" y="260350"/>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 name="Rectangle 6"/>
          <p:cNvSpPr/>
          <p:nvPr/>
        </p:nvSpPr>
        <p:spPr>
          <a:xfrm>
            <a:off x="3204742" y="260350"/>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 name="Rectangle 7"/>
          <p:cNvSpPr/>
          <p:nvPr/>
        </p:nvSpPr>
        <p:spPr>
          <a:xfrm>
            <a:off x="4185147" y="260350"/>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 name="Rectangle 8"/>
          <p:cNvSpPr/>
          <p:nvPr/>
        </p:nvSpPr>
        <p:spPr>
          <a:xfrm>
            <a:off x="5165553" y="260350"/>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 name="Rectangle 9"/>
          <p:cNvSpPr/>
          <p:nvPr/>
        </p:nvSpPr>
        <p:spPr>
          <a:xfrm>
            <a:off x="6145958" y="260350"/>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 name="Rectangle 10"/>
          <p:cNvSpPr/>
          <p:nvPr/>
        </p:nvSpPr>
        <p:spPr>
          <a:xfrm>
            <a:off x="7126364" y="260350"/>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 name="Rectangle 11"/>
          <p:cNvSpPr/>
          <p:nvPr/>
        </p:nvSpPr>
        <p:spPr>
          <a:xfrm>
            <a:off x="8106769" y="260350"/>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 name="Rectangle 12"/>
          <p:cNvSpPr/>
          <p:nvPr/>
        </p:nvSpPr>
        <p:spPr>
          <a:xfrm>
            <a:off x="9087175" y="260350"/>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 name="Rectangle 13"/>
          <p:cNvSpPr/>
          <p:nvPr/>
        </p:nvSpPr>
        <p:spPr>
          <a:xfrm>
            <a:off x="10067580" y="260350"/>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5" name="Rectangle 14"/>
          <p:cNvSpPr/>
          <p:nvPr/>
        </p:nvSpPr>
        <p:spPr>
          <a:xfrm>
            <a:off x="11047986" y="260350"/>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6" name="Rectangle 15"/>
          <p:cNvSpPr/>
          <p:nvPr/>
        </p:nvSpPr>
        <p:spPr>
          <a:xfrm>
            <a:off x="263525" y="1252137"/>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7" name="Rectangle 16"/>
          <p:cNvSpPr/>
          <p:nvPr/>
        </p:nvSpPr>
        <p:spPr>
          <a:xfrm>
            <a:off x="1243931" y="1252137"/>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8" name="Rectangle 17"/>
          <p:cNvSpPr/>
          <p:nvPr/>
        </p:nvSpPr>
        <p:spPr>
          <a:xfrm>
            <a:off x="2224336" y="1252137"/>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9" name="Rectangle 18"/>
          <p:cNvSpPr/>
          <p:nvPr/>
        </p:nvSpPr>
        <p:spPr>
          <a:xfrm>
            <a:off x="3204742" y="1252137"/>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0" name="Rectangle 19"/>
          <p:cNvSpPr/>
          <p:nvPr/>
        </p:nvSpPr>
        <p:spPr>
          <a:xfrm>
            <a:off x="4185147" y="1252137"/>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1" name="Rectangle 20"/>
          <p:cNvSpPr/>
          <p:nvPr/>
        </p:nvSpPr>
        <p:spPr>
          <a:xfrm>
            <a:off x="5165553" y="1252137"/>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2" name="Rectangle 21"/>
          <p:cNvSpPr/>
          <p:nvPr/>
        </p:nvSpPr>
        <p:spPr>
          <a:xfrm>
            <a:off x="6145958" y="1252137"/>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3" name="Rectangle 22"/>
          <p:cNvSpPr/>
          <p:nvPr/>
        </p:nvSpPr>
        <p:spPr>
          <a:xfrm>
            <a:off x="7126364" y="1252137"/>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4" name="Rectangle 23"/>
          <p:cNvSpPr/>
          <p:nvPr/>
        </p:nvSpPr>
        <p:spPr>
          <a:xfrm>
            <a:off x="8106769" y="1252137"/>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5" name="Rectangle 24"/>
          <p:cNvSpPr/>
          <p:nvPr/>
        </p:nvSpPr>
        <p:spPr>
          <a:xfrm>
            <a:off x="9087175" y="1252137"/>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6" name="Rectangle 25"/>
          <p:cNvSpPr/>
          <p:nvPr/>
        </p:nvSpPr>
        <p:spPr>
          <a:xfrm>
            <a:off x="10067580" y="1252137"/>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7" name="Rectangle 26"/>
          <p:cNvSpPr/>
          <p:nvPr/>
        </p:nvSpPr>
        <p:spPr>
          <a:xfrm>
            <a:off x="11047986" y="1252137"/>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8" name="Rectangle 27"/>
          <p:cNvSpPr/>
          <p:nvPr/>
        </p:nvSpPr>
        <p:spPr>
          <a:xfrm>
            <a:off x="263525" y="2243924"/>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9" name="Rectangle 28"/>
          <p:cNvSpPr/>
          <p:nvPr/>
        </p:nvSpPr>
        <p:spPr>
          <a:xfrm>
            <a:off x="1243931" y="2243924"/>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0" name="Rectangle 29"/>
          <p:cNvSpPr/>
          <p:nvPr/>
        </p:nvSpPr>
        <p:spPr>
          <a:xfrm>
            <a:off x="2224336" y="2243924"/>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1" name="Rectangle 30"/>
          <p:cNvSpPr/>
          <p:nvPr/>
        </p:nvSpPr>
        <p:spPr>
          <a:xfrm>
            <a:off x="3204742" y="2243924"/>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2" name="Rectangle 31"/>
          <p:cNvSpPr/>
          <p:nvPr/>
        </p:nvSpPr>
        <p:spPr>
          <a:xfrm>
            <a:off x="4185147" y="2243924"/>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3" name="Rectangle 32"/>
          <p:cNvSpPr/>
          <p:nvPr/>
        </p:nvSpPr>
        <p:spPr>
          <a:xfrm>
            <a:off x="5165553" y="2243924"/>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4" name="Rectangle 33"/>
          <p:cNvSpPr/>
          <p:nvPr/>
        </p:nvSpPr>
        <p:spPr>
          <a:xfrm>
            <a:off x="6145958" y="2243924"/>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5" name="Rectangle 34"/>
          <p:cNvSpPr/>
          <p:nvPr/>
        </p:nvSpPr>
        <p:spPr>
          <a:xfrm>
            <a:off x="7126364" y="2243924"/>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6" name="Rectangle 35"/>
          <p:cNvSpPr/>
          <p:nvPr/>
        </p:nvSpPr>
        <p:spPr>
          <a:xfrm>
            <a:off x="8106769" y="2243924"/>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7" name="Rectangle 36"/>
          <p:cNvSpPr/>
          <p:nvPr/>
        </p:nvSpPr>
        <p:spPr>
          <a:xfrm>
            <a:off x="9087175" y="2243924"/>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8" name="Rectangle 37"/>
          <p:cNvSpPr/>
          <p:nvPr/>
        </p:nvSpPr>
        <p:spPr>
          <a:xfrm>
            <a:off x="10067580" y="2243924"/>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9" name="Rectangle 38"/>
          <p:cNvSpPr/>
          <p:nvPr/>
        </p:nvSpPr>
        <p:spPr>
          <a:xfrm>
            <a:off x="11047986" y="2243924"/>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0" name="Rectangle 39"/>
          <p:cNvSpPr/>
          <p:nvPr/>
        </p:nvSpPr>
        <p:spPr>
          <a:xfrm>
            <a:off x="263525" y="3235711"/>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1" name="Rectangle 40"/>
          <p:cNvSpPr/>
          <p:nvPr/>
        </p:nvSpPr>
        <p:spPr>
          <a:xfrm>
            <a:off x="1243931" y="3235711"/>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2" name="Rectangle 41"/>
          <p:cNvSpPr/>
          <p:nvPr/>
        </p:nvSpPr>
        <p:spPr>
          <a:xfrm>
            <a:off x="2224336" y="3235711"/>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3" name="Rectangle 42"/>
          <p:cNvSpPr/>
          <p:nvPr/>
        </p:nvSpPr>
        <p:spPr>
          <a:xfrm>
            <a:off x="3204742" y="3235711"/>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4" name="Rectangle 43"/>
          <p:cNvSpPr/>
          <p:nvPr/>
        </p:nvSpPr>
        <p:spPr>
          <a:xfrm>
            <a:off x="4185147" y="3235711"/>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5" name="Rectangle 44"/>
          <p:cNvSpPr/>
          <p:nvPr/>
        </p:nvSpPr>
        <p:spPr>
          <a:xfrm>
            <a:off x="5165553" y="3235711"/>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6" name="Rectangle 45"/>
          <p:cNvSpPr/>
          <p:nvPr/>
        </p:nvSpPr>
        <p:spPr>
          <a:xfrm>
            <a:off x="6145958" y="3235711"/>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7" name="Rectangle 46"/>
          <p:cNvSpPr/>
          <p:nvPr/>
        </p:nvSpPr>
        <p:spPr>
          <a:xfrm>
            <a:off x="7126364" y="3235711"/>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8" name="Rectangle 47"/>
          <p:cNvSpPr/>
          <p:nvPr/>
        </p:nvSpPr>
        <p:spPr>
          <a:xfrm>
            <a:off x="8106769" y="3235711"/>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9" name="Rectangle 48"/>
          <p:cNvSpPr/>
          <p:nvPr/>
        </p:nvSpPr>
        <p:spPr>
          <a:xfrm>
            <a:off x="9087175" y="3235711"/>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0" name="Rectangle 49"/>
          <p:cNvSpPr/>
          <p:nvPr/>
        </p:nvSpPr>
        <p:spPr>
          <a:xfrm>
            <a:off x="10067580" y="3235711"/>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1" name="Rectangle 50"/>
          <p:cNvSpPr/>
          <p:nvPr/>
        </p:nvSpPr>
        <p:spPr>
          <a:xfrm>
            <a:off x="11047986" y="3235711"/>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2" name="Rectangle 51"/>
          <p:cNvSpPr/>
          <p:nvPr/>
        </p:nvSpPr>
        <p:spPr>
          <a:xfrm>
            <a:off x="263525" y="4227498"/>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3" name="Rectangle 52"/>
          <p:cNvSpPr/>
          <p:nvPr/>
        </p:nvSpPr>
        <p:spPr>
          <a:xfrm>
            <a:off x="1243931" y="4227498"/>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4" name="Rectangle 53"/>
          <p:cNvSpPr/>
          <p:nvPr/>
        </p:nvSpPr>
        <p:spPr>
          <a:xfrm>
            <a:off x="2224336" y="4227498"/>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5" name="Rectangle 54"/>
          <p:cNvSpPr/>
          <p:nvPr/>
        </p:nvSpPr>
        <p:spPr>
          <a:xfrm>
            <a:off x="3204742" y="4227498"/>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6" name="Rectangle 55"/>
          <p:cNvSpPr/>
          <p:nvPr/>
        </p:nvSpPr>
        <p:spPr>
          <a:xfrm>
            <a:off x="4185147" y="4227498"/>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7" name="Rectangle 56"/>
          <p:cNvSpPr/>
          <p:nvPr/>
        </p:nvSpPr>
        <p:spPr>
          <a:xfrm>
            <a:off x="5165553" y="4227498"/>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8" name="Rectangle 57"/>
          <p:cNvSpPr/>
          <p:nvPr/>
        </p:nvSpPr>
        <p:spPr>
          <a:xfrm>
            <a:off x="6145958" y="4227498"/>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9" name="Rectangle 58"/>
          <p:cNvSpPr/>
          <p:nvPr/>
        </p:nvSpPr>
        <p:spPr>
          <a:xfrm>
            <a:off x="7126364" y="4227498"/>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0" name="Rectangle 59"/>
          <p:cNvSpPr/>
          <p:nvPr/>
        </p:nvSpPr>
        <p:spPr>
          <a:xfrm>
            <a:off x="8106769" y="4227498"/>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1" name="Rectangle 60"/>
          <p:cNvSpPr/>
          <p:nvPr/>
        </p:nvSpPr>
        <p:spPr>
          <a:xfrm>
            <a:off x="9087175" y="4227498"/>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2" name="Rectangle 61"/>
          <p:cNvSpPr/>
          <p:nvPr/>
        </p:nvSpPr>
        <p:spPr>
          <a:xfrm>
            <a:off x="10067580" y="4227498"/>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3" name="Rectangle 62"/>
          <p:cNvSpPr/>
          <p:nvPr/>
        </p:nvSpPr>
        <p:spPr>
          <a:xfrm>
            <a:off x="11047986" y="4227498"/>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4" name="Rectangle 63"/>
          <p:cNvSpPr/>
          <p:nvPr/>
        </p:nvSpPr>
        <p:spPr>
          <a:xfrm>
            <a:off x="263525" y="5219285"/>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5" name="Rectangle 64"/>
          <p:cNvSpPr/>
          <p:nvPr/>
        </p:nvSpPr>
        <p:spPr>
          <a:xfrm>
            <a:off x="1243931" y="5219285"/>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6" name="Rectangle 65"/>
          <p:cNvSpPr/>
          <p:nvPr/>
        </p:nvSpPr>
        <p:spPr>
          <a:xfrm>
            <a:off x="2224336" y="5219285"/>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7" name="Rectangle 66"/>
          <p:cNvSpPr/>
          <p:nvPr/>
        </p:nvSpPr>
        <p:spPr>
          <a:xfrm>
            <a:off x="3204742" y="5219285"/>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8" name="Rectangle 67"/>
          <p:cNvSpPr/>
          <p:nvPr/>
        </p:nvSpPr>
        <p:spPr>
          <a:xfrm>
            <a:off x="4185147" y="5219285"/>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9" name="Rectangle 68"/>
          <p:cNvSpPr/>
          <p:nvPr/>
        </p:nvSpPr>
        <p:spPr>
          <a:xfrm>
            <a:off x="5165553" y="5219285"/>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0" name="Rectangle 69"/>
          <p:cNvSpPr/>
          <p:nvPr/>
        </p:nvSpPr>
        <p:spPr>
          <a:xfrm>
            <a:off x="6145958" y="5219285"/>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1" name="Rectangle 70"/>
          <p:cNvSpPr/>
          <p:nvPr/>
        </p:nvSpPr>
        <p:spPr>
          <a:xfrm>
            <a:off x="7126364" y="5219285"/>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2" name="Rectangle 71"/>
          <p:cNvSpPr/>
          <p:nvPr/>
        </p:nvSpPr>
        <p:spPr>
          <a:xfrm>
            <a:off x="8106769" y="5219285"/>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3" name="Rectangle 72"/>
          <p:cNvSpPr/>
          <p:nvPr/>
        </p:nvSpPr>
        <p:spPr>
          <a:xfrm>
            <a:off x="9087175" y="5219285"/>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4" name="Rectangle 73"/>
          <p:cNvSpPr/>
          <p:nvPr/>
        </p:nvSpPr>
        <p:spPr>
          <a:xfrm>
            <a:off x="10067580" y="5219285"/>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5" name="Rectangle 74"/>
          <p:cNvSpPr/>
          <p:nvPr/>
        </p:nvSpPr>
        <p:spPr>
          <a:xfrm>
            <a:off x="11047986" y="5219285"/>
            <a:ext cx="880489" cy="88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6831829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asic – 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945A69-626D-DE47-9B9D-85BFA89EE8E5}"/>
              </a:ext>
            </a:extLst>
          </p:cNvPr>
          <p:cNvSpPr>
            <a:spLocks noGrp="1"/>
          </p:cNvSpPr>
          <p:nvPr>
            <p:ph type="title" hasCustomPrompt="1"/>
          </p:nvPr>
        </p:nvSpPr>
        <p:spPr>
          <a:xfrm>
            <a:off x="359999" y="450000"/>
            <a:ext cx="11160000" cy="332399"/>
          </a:xfrm>
        </p:spPr>
        <p:txBody>
          <a:bodyPr/>
          <a:lstStyle>
            <a:lvl1pPr>
              <a:defRPr>
                <a:solidFill>
                  <a:schemeClr val="accent3"/>
                </a:solidFill>
              </a:defRPr>
            </a:lvl1pPr>
          </a:lstStyle>
          <a:p>
            <a:r>
              <a:rPr lang="en-GB"/>
              <a:t>Insert title here</a:t>
            </a:r>
          </a:p>
        </p:txBody>
      </p:sp>
      <p:sp>
        <p:nvSpPr>
          <p:cNvPr id="3" name="Slide Number Placeholder 2">
            <a:extLst>
              <a:ext uri="{FF2B5EF4-FFF2-40B4-BE49-F238E27FC236}">
                <a16:creationId xmlns:a16="http://schemas.microsoft.com/office/drawing/2014/main" id="{983EA732-9062-1341-B955-C5D4864331DC}"/>
              </a:ext>
            </a:extLst>
          </p:cNvPr>
          <p:cNvSpPr>
            <a:spLocks noGrp="1"/>
          </p:cNvSpPr>
          <p:nvPr>
            <p:ph type="sldNum" sz="quarter" idx="10"/>
          </p:nvPr>
        </p:nvSpPr>
        <p:spPr/>
        <p:txBody>
          <a:bodyPr/>
          <a:lstStyle/>
          <a:p>
            <a:fld id="{91AAFA88-51D8-4832-B4D0-D7122A7C4455}" type="slidenum">
              <a:rPr lang="en-SG" smtClean="0"/>
              <a:t>‹#›</a:t>
            </a:fld>
            <a:endParaRPr lang="en-SG"/>
          </a:p>
        </p:txBody>
      </p:sp>
      <p:pic>
        <p:nvPicPr>
          <p:cNvPr id="4" name="Graphic 3">
            <a:extLst>
              <a:ext uri="{FF2B5EF4-FFF2-40B4-BE49-F238E27FC236}">
                <a16:creationId xmlns:a16="http://schemas.microsoft.com/office/drawing/2014/main" id="{2500454D-C186-4846-88E2-F297E7B57C85}"/>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790000" y="180000"/>
            <a:ext cx="233304" cy="233273"/>
          </a:xfrm>
          <a:prstGeom prst="rect">
            <a:avLst/>
          </a:prstGeom>
        </p:spPr>
      </p:pic>
      <p:sp>
        <p:nvSpPr>
          <p:cNvPr id="5" name="Text Placeholder 3">
            <a:extLst>
              <a:ext uri="{FF2B5EF4-FFF2-40B4-BE49-F238E27FC236}">
                <a16:creationId xmlns:a16="http://schemas.microsoft.com/office/drawing/2014/main" id="{D8EA2D1D-70B6-8E45-941F-EE6A1EAA17A6}"/>
              </a:ext>
            </a:extLst>
          </p:cNvPr>
          <p:cNvSpPr>
            <a:spLocks noGrp="1"/>
          </p:cNvSpPr>
          <p:nvPr>
            <p:ph type="body" sz="quarter" idx="51" hasCustomPrompt="1"/>
          </p:nvPr>
        </p:nvSpPr>
        <p:spPr>
          <a:xfrm>
            <a:off x="359999" y="805904"/>
            <a:ext cx="11160000" cy="279692"/>
          </a:xfrm>
          <a:prstGeom prst="rect">
            <a:avLst/>
          </a:prstGeom>
        </p:spPr>
        <p:txBody>
          <a:bodyPr wrap="square">
            <a:spAutoFit/>
          </a:bodyPr>
          <a:lstStyle>
            <a:lvl1pPr>
              <a:defRPr sz="1800" b="0">
                <a:solidFill>
                  <a:schemeClr val="tx1">
                    <a:lumMod val="75000"/>
                    <a:lumOff val="25000"/>
                  </a:schemeClr>
                </a:solidFill>
                <a:latin typeface="+mn-lt"/>
              </a:defRPr>
            </a:lvl1pPr>
            <a:lvl2pPr>
              <a:defRPr sz="2800">
                <a:latin typeface="Graphik Semibold" panose="020B0703030202060203" pitchFamily="34" charset="0"/>
              </a:defRPr>
            </a:lvl2pPr>
          </a:lstStyle>
          <a:p>
            <a:pPr lvl="0"/>
            <a:r>
              <a:rPr lang="en-US"/>
              <a:t>Insert subtitle here</a:t>
            </a:r>
            <a:endParaRPr lang="en-GB"/>
          </a:p>
        </p:txBody>
      </p:sp>
      <p:sp>
        <p:nvSpPr>
          <p:cNvPr id="11" name="Text Placeholder 10">
            <a:extLst>
              <a:ext uri="{FF2B5EF4-FFF2-40B4-BE49-F238E27FC236}">
                <a16:creationId xmlns:a16="http://schemas.microsoft.com/office/drawing/2014/main" id="{F0562872-4444-4246-9CFD-6BE5200A33B6}"/>
              </a:ext>
            </a:extLst>
          </p:cNvPr>
          <p:cNvSpPr>
            <a:spLocks noGrp="1"/>
          </p:cNvSpPr>
          <p:nvPr>
            <p:ph type="body" sz="quarter" idx="52" hasCustomPrompt="1"/>
          </p:nvPr>
        </p:nvSpPr>
        <p:spPr>
          <a:xfrm>
            <a:off x="360364" y="6520402"/>
            <a:ext cx="3603712" cy="124329"/>
          </a:xfrm>
        </p:spPr>
        <p:txBody>
          <a:bodyPr wrap="square">
            <a:spAutoFit/>
          </a:bodyPr>
          <a:lstStyle>
            <a:lvl1pPr>
              <a:defRPr sz="800">
                <a:solidFill>
                  <a:schemeClr val="bg1">
                    <a:lumMod val="85000"/>
                  </a:schemeClr>
                </a:solidFill>
              </a:defRPr>
            </a:lvl1pPr>
          </a:lstStyle>
          <a:p>
            <a:pPr lvl="0"/>
            <a:r>
              <a:rPr lang="en-GB"/>
              <a:t>Label (e.g. for listing sources)</a:t>
            </a:r>
          </a:p>
        </p:txBody>
      </p:sp>
    </p:spTree>
    <p:extLst>
      <p:ext uri="{BB962C8B-B14F-4D97-AF65-F5344CB8AC3E}">
        <p14:creationId xmlns:p14="http://schemas.microsoft.com/office/powerpoint/2010/main" val="14021839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 and body" userDrawn="1">
  <p:cSld name="Title and body">
    <p:spTree>
      <p:nvGrpSpPr>
        <p:cNvPr id="1" name="Shape 31"/>
        <p:cNvGrpSpPr/>
        <p:nvPr/>
      </p:nvGrpSpPr>
      <p:grpSpPr>
        <a:xfrm>
          <a:off x="0" y="0"/>
          <a:ext cx="0" cy="0"/>
          <a:chOff x="0" y="0"/>
          <a:chExt cx="0" cy="0"/>
        </a:xfrm>
      </p:grpSpPr>
      <p:sp>
        <p:nvSpPr>
          <p:cNvPr id="5" name="Google Shape;15;p2">
            <a:extLst>
              <a:ext uri="{FF2B5EF4-FFF2-40B4-BE49-F238E27FC236}">
                <a16:creationId xmlns:a16="http://schemas.microsoft.com/office/drawing/2014/main" id="{5E3FD278-C210-CF4B-815B-DF387EC6DD2A}"/>
              </a:ext>
            </a:extLst>
          </p:cNvPr>
          <p:cNvSpPr txBox="1">
            <a:spLocks noGrp="1"/>
          </p:cNvSpPr>
          <p:nvPr>
            <p:ph type="title"/>
          </p:nvPr>
        </p:nvSpPr>
        <p:spPr>
          <a:xfrm>
            <a:off x="304799" y="639075"/>
            <a:ext cx="11462737" cy="350865"/>
          </a:xfrm>
          <a:prstGeom prst="rect">
            <a:avLst/>
          </a:prstGeom>
          <a:noFill/>
          <a:ln>
            <a:noFill/>
          </a:ln>
        </p:spPr>
        <p:txBody>
          <a:bodyPr spcFirstLastPara="1" wrap="square" lIns="0" tIns="0" rIns="0" bIns="0" anchor="t" anchorCtr="0">
            <a:spAutoFit/>
          </a:bodyPr>
          <a:lstStyle>
            <a:lvl1pPr lvl="0" algn="l" rtl="0">
              <a:lnSpc>
                <a:spcPct val="95000"/>
              </a:lnSpc>
              <a:spcBef>
                <a:spcPts val="0"/>
              </a:spcBef>
              <a:spcAft>
                <a:spcPts val="0"/>
              </a:spcAft>
              <a:buSzPts val="1100"/>
              <a:buNone/>
              <a:defRPr sz="2400" b="1">
                <a:solidFill>
                  <a:schemeClr val="tx1"/>
                </a:solidFill>
                <a:latin typeface="Century Gothic"/>
                <a:ea typeface="Century Gothic"/>
                <a:cs typeface="Century Gothic"/>
                <a:sym typeface="Century Gothic"/>
              </a:defRPr>
            </a:lvl1pPr>
            <a:lvl2pPr lvl="1" algn="l" rtl="0">
              <a:lnSpc>
                <a:spcPct val="95000"/>
              </a:lnSpc>
              <a:spcBef>
                <a:spcPts val="0"/>
              </a:spcBef>
              <a:spcAft>
                <a:spcPts val="0"/>
              </a:spcAft>
              <a:buSzPts val="1100"/>
              <a:buNone/>
              <a:defRPr/>
            </a:lvl2pPr>
            <a:lvl3pPr lvl="2" algn="l" rtl="0">
              <a:lnSpc>
                <a:spcPct val="95000"/>
              </a:lnSpc>
              <a:spcBef>
                <a:spcPts val="0"/>
              </a:spcBef>
              <a:spcAft>
                <a:spcPts val="0"/>
              </a:spcAft>
              <a:buSzPts val="1100"/>
              <a:buNone/>
              <a:defRPr/>
            </a:lvl3pPr>
            <a:lvl4pPr lvl="3" algn="l" rtl="0">
              <a:lnSpc>
                <a:spcPct val="95000"/>
              </a:lnSpc>
              <a:spcBef>
                <a:spcPts val="0"/>
              </a:spcBef>
              <a:spcAft>
                <a:spcPts val="0"/>
              </a:spcAft>
              <a:buSzPts val="1100"/>
              <a:buNone/>
              <a:defRPr/>
            </a:lvl4pPr>
            <a:lvl5pPr lvl="4" algn="l" rtl="0">
              <a:lnSpc>
                <a:spcPct val="95000"/>
              </a:lnSpc>
              <a:spcBef>
                <a:spcPts val="0"/>
              </a:spcBef>
              <a:spcAft>
                <a:spcPts val="0"/>
              </a:spcAft>
              <a:buSzPts val="1100"/>
              <a:buNone/>
              <a:defRPr/>
            </a:lvl5pPr>
            <a:lvl6pPr lvl="5" algn="l" rtl="0">
              <a:lnSpc>
                <a:spcPct val="95000"/>
              </a:lnSpc>
              <a:spcBef>
                <a:spcPts val="0"/>
              </a:spcBef>
              <a:spcAft>
                <a:spcPts val="0"/>
              </a:spcAft>
              <a:buSzPts val="1100"/>
              <a:buNone/>
              <a:defRPr/>
            </a:lvl6pPr>
            <a:lvl7pPr lvl="6" algn="l" rtl="0">
              <a:lnSpc>
                <a:spcPct val="95000"/>
              </a:lnSpc>
              <a:spcBef>
                <a:spcPts val="0"/>
              </a:spcBef>
              <a:spcAft>
                <a:spcPts val="0"/>
              </a:spcAft>
              <a:buSzPts val="1100"/>
              <a:buNone/>
              <a:defRPr/>
            </a:lvl7pPr>
            <a:lvl8pPr lvl="7" algn="l" rtl="0">
              <a:lnSpc>
                <a:spcPct val="95000"/>
              </a:lnSpc>
              <a:spcBef>
                <a:spcPts val="0"/>
              </a:spcBef>
              <a:spcAft>
                <a:spcPts val="0"/>
              </a:spcAft>
              <a:buSzPts val="1100"/>
              <a:buNone/>
              <a:defRPr/>
            </a:lvl8pPr>
            <a:lvl9pPr lvl="8" algn="l" rtl="0">
              <a:lnSpc>
                <a:spcPct val="95000"/>
              </a:lnSpc>
              <a:spcBef>
                <a:spcPts val="0"/>
              </a:spcBef>
              <a:spcAft>
                <a:spcPts val="0"/>
              </a:spcAft>
              <a:buSzPts val="1100"/>
              <a:buNone/>
              <a:defRPr/>
            </a:lvl9pPr>
          </a:lstStyle>
          <a:p>
            <a:endParaRPr/>
          </a:p>
        </p:txBody>
      </p:sp>
      <p:pic>
        <p:nvPicPr>
          <p:cNvPr id="3" name="Graphic 2">
            <a:extLst>
              <a:ext uri="{FF2B5EF4-FFF2-40B4-BE49-F238E27FC236}">
                <a16:creationId xmlns:a16="http://schemas.microsoft.com/office/drawing/2014/main" id="{0FD806F0-7374-314C-856E-2702C82E03B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90975" y="182159"/>
            <a:ext cx="233274" cy="233273"/>
          </a:xfrm>
          <a:prstGeom prst="rect">
            <a:avLst/>
          </a:prstGeom>
        </p:spPr>
      </p:pic>
    </p:spTree>
    <p:extLst>
      <p:ext uri="{BB962C8B-B14F-4D97-AF65-F5344CB8AC3E}">
        <p14:creationId xmlns:p14="http://schemas.microsoft.com/office/powerpoint/2010/main" val="9017373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itle and body" userDrawn="1">
  <p:cSld name="Title and body">
    <p:spTree>
      <p:nvGrpSpPr>
        <p:cNvPr id="1" name="Shape 31"/>
        <p:cNvGrpSpPr/>
        <p:nvPr/>
      </p:nvGrpSpPr>
      <p:grpSpPr>
        <a:xfrm>
          <a:off x="0" y="0"/>
          <a:ext cx="0" cy="0"/>
          <a:chOff x="0" y="0"/>
          <a:chExt cx="0" cy="0"/>
        </a:xfrm>
      </p:grpSpPr>
      <p:sp>
        <p:nvSpPr>
          <p:cNvPr id="5" name="Google Shape;15;p2">
            <a:extLst>
              <a:ext uri="{FF2B5EF4-FFF2-40B4-BE49-F238E27FC236}">
                <a16:creationId xmlns:a16="http://schemas.microsoft.com/office/drawing/2014/main" id="{5E3FD278-C210-CF4B-815B-DF387EC6DD2A}"/>
              </a:ext>
            </a:extLst>
          </p:cNvPr>
          <p:cNvSpPr txBox="1">
            <a:spLocks noGrp="1"/>
          </p:cNvSpPr>
          <p:nvPr>
            <p:ph type="title"/>
          </p:nvPr>
        </p:nvSpPr>
        <p:spPr>
          <a:xfrm>
            <a:off x="304799" y="639075"/>
            <a:ext cx="11462737" cy="350865"/>
          </a:xfrm>
          <a:prstGeom prst="rect">
            <a:avLst/>
          </a:prstGeom>
          <a:noFill/>
          <a:ln>
            <a:noFill/>
          </a:ln>
        </p:spPr>
        <p:txBody>
          <a:bodyPr spcFirstLastPara="1" wrap="square" lIns="0" tIns="0" rIns="0" bIns="0" anchor="t" anchorCtr="0">
            <a:spAutoFit/>
          </a:bodyPr>
          <a:lstStyle>
            <a:lvl1pPr lvl="0" algn="l" rtl="0">
              <a:lnSpc>
                <a:spcPct val="95000"/>
              </a:lnSpc>
              <a:spcBef>
                <a:spcPts val="0"/>
              </a:spcBef>
              <a:spcAft>
                <a:spcPts val="0"/>
              </a:spcAft>
              <a:buSzPts val="1100"/>
              <a:buNone/>
              <a:defRPr sz="2400" b="1">
                <a:solidFill>
                  <a:schemeClr val="tx1"/>
                </a:solidFill>
                <a:latin typeface="Century Gothic"/>
                <a:ea typeface="Century Gothic"/>
                <a:cs typeface="Century Gothic"/>
                <a:sym typeface="Century Gothic"/>
              </a:defRPr>
            </a:lvl1pPr>
            <a:lvl2pPr lvl="1" algn="l" rtl="0">
              <a:lnSpc>
                <a:spcPct val="95000"/>
              </a:lnSpc>
              <a:spcBef>
                <a:spcPts val="0"/>
              </a:spcBef>
              <a:spcAft>
                <a:spcPts val="0"/>
              </a:spcAft>
              <a:buSzPts val="1100"/>
              <a:buNone/>
              <a:defRPr/>
            </a:lvl2pPr>
            <a:lvl3pPr lvl="2" algn="l" rtl="0">
              <a:lnSpc>
                <a:spcPct val="95000"/>
              </a:lnSpc>
              <a:spcBef>
                <a:spcPts val="0"/>
              </a:spcBef>
              <a:spcAft>
                <a:spcPts val="0"/>
              </a:spcAft>
              <a:buSzPts val="1100"/>
              <a:buNone/>
              <a:defRPr/>
            </a:lvl3pPr>
            <a:lvl4pPr lvl="3" algn="l" rtl="0">
              <a:lnSpc>
                <a:spcPct val="95000"/>
              </a:lnSpc>
              <a:spcBef>
                <a:spcPts val="0"/>
              </a:spcBef>
              <a:spcAft>
                <a:spcPts val="0"/>
              </a:spcAft>
              <a:buSzPts val="1100"/>
              <a:buNone/>
              <a:defRPr/>
            </a:lvl4pPr>
            <a:lvl5pPr lvl="4" algn="l" rtl="0">
              <a:lnSpc>
                <a:spcPct val="95000"/>
              </a:lnSpc>
              <a:spcBef>
                <a:spcPts val="0"/>
              </a:spcBef>
              <a:spcAft>
                <a:spcPts val="0"/>
              </a:spcAft>
              <a:buSzPts val="1100"/>
              <a:buNone/>
              <a:defRPr/>
            </a:lvl5pPr>
            <a:lvl6pPr lvl="5" algn="l" rtl="0">
              <a:lnSpc>
                <a:spcPct val="95000"/>
              </a:lnSpc>
              <a:spcBef>
                <a:spcPts val="0"/>
              </a:spcBef>
              <a:spcAft>
                <a:spcPts val="0"/>
              </a:spcAft>
              <a:buSzPts val="1100"/>
              <a:buNone/>
              <a:defRPr/>
            </a:lvl6pPr>
            <a:lvl7pPr lvl="6" algn="l" rtl="0">
              <a:lnSpc>
                <a:spcPct val="95000"/>
              </a:lnSpc>
              <a:spcBef>
                <a:spcPts val="0"/>
              </a:spcBef>
              <a:spcAft>
                <a:spcPts val="0"/>
              </a:spcAft>
              <a:buSzPts val="1100"/>
              <a:buNone/>
              <a:defRPr/>
            </a:lvl7pPr>
            <a:lvl8pPr lvl="7" algn="l" rtl="0">
              <a:lnSpc>
                <a:spcPct val="95000"/>
              </a:lnSpc>
              <a:spcBef>
                <a:spcPts val="0"/>
              </a:spcBef>
              <a:spcAft>
                <a:spcPts val="0"/>
              </a:spcAft>
              <a:buSzPts val="1100"/>
              <a:buNone/>
              <a:defRPr/>
            </a:lvl8pPr>
            <a:lvl9pPr lvl="8" algn="l" rtl="0">
              <a:lnSpc>
                <a:spcPct val="95000"/>
              </a:lnSpc>
              <a:spcBef>
                <a:spcPts val="0"/>
              </a:spcBef>
              <a:spcAft>
                <a:spcPts val="0"/>
              </a:spcAft>
              <a:buSzPts val="1100"/>
              <a:buNone/>
              <a:defRPr/>
            </a:lvl9pPr>
          </a:lstStyle>
          <a:p>
            <a:endParaRPr/>
          </a:p>
        </p:txBody>
      </p:sp>
      <p:pic>
        <p:nvPicPr>
          <p:cNvPr id="3" name="Graphic 2">
            <a:extLst>
              <a:ext uri="{FF2B5EF4-FFF2-40B4-BE49-F238E27FC236}">
                <a16:creationId xmlns:a16="http://schemas.microsoft.com/office/drawing/2014/main" id="{0FD806F0-7374-314C-856E-2702C82E03B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90975" y="182159"/>
            <a:ext cx="233274" cy="233273"/>
          </a:xfrm>
          <a:prstGeom prst="rect">
            <a:avLst/>
          </a:prstGeom>
        </p:spPr>
      </p:pic>
    </p:spTree>
    <p:extLst>
      <p:ext uri="{BB962C8B-B14F-4D97-AF65-F5344CB8AC3E}">
        <p14:creationId xmlns:p14="http://schemas.microsoft.com/office/powerpoint/2010/main" val="90173739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Half image_Green BG">
    <p:spTree>
      <p:nvGrpSpPr>
        <p:cNvPr id="1" name=""/>
        <p:cNvGrpSpPr/>
        <p:nvPr/>
      </p:nvGrpSpPr>
      <p:grpSpPr>
        <a:xfrm>
          <a:off x="0" y="0"/>
          <a:ext cx="0" cy="0"/>
          <a:chOff x="0" y="0"/>
          <a:chExt cx="0" cy="0"/>
        </a:xfrm>
      </p:grpSpPr>
      <p:sp>
        <p:nvSpPr>
          <p:cNvPr id="12" name="Freeform 11"/>
          <p:cNvSpPr/>
          <p:nvPr userDrawn="1"/>
        </p:nvSpPr>
        <p:spPr>
          <a:xfrm>
            <a:off x="263526" y="260351"/>
            <a:ext cx="11664951" cy="6337300"/>
          </a:xfrm>
          <a:custGeom>
            <a:avLst/>
            <a:gdLst>
              <a:gd name="connsiteX0" fmla="*/ 0 w 11664950"/>
              <a:gd name="connsiteY0" fmla="*/ 0 h 6337300"/>
              <a:gd name="connsiteX1" fmla="*/ 11664950 w 11664950"/>
              <a:gd name="connsiteY1" fmla="*/ 0 h 6337300"/>
              <a:gd name="connsiteX2" fmla="*/ 11664950 w 11664950"/>
              <a:gd name="connsiteY2" fmla="*/ 6337300 h 6337300"/>
              <a:gd name="connsiteX3" fmla="*/ 0 w 11664950"/>
              <a:gd name="connsiteY3" fmla="*/ 6337300 h 6337300"/>
            </a:gdLst>
            <a:ahLst/>
            <a:cxnLst>
              <a:cxn ang="0">
                <a:pos x="connsiteX0" y="connsiteY0"/>
              </a:cxn>
              <a:cxn ang="0">
                <a:pos x="connsiteX1" y="connsiteY1"/>
              </a:cxn>
              <a:cxn ang="0">
                <a:pos x="connsiteX2" y="connsiteY2"/>
              </a:cxn>
              <a:cxn ang="0">
                <a:pos x="connsiteX3" y="connsiteY3"/>
              </a:cxn>
            </a:cxnLst>
            <a:rect l="l" t="t" r="r" b="b"/>
            <a:pathLst>
              <a:path w="11664950" h="6337300">
                <a:moveTo>
                  <a:pt x="0" y="0"/>
                </a:moveTo>
                <a:lnTo>
                  <a:pt x="11664950" y="0"/>
                </a:lnTo>
                <a:lnTo>
                  <a:pt x="11664950" y="6337300"/>
                </a:lnTo>
                <a:lnTo>
                  <a:pt x="0" y="6337300"/>
                </a:lnTo>
                <a:close/>
              </a:path>
            </a:pathLst>
          </a:custGeom>
          <a:gradFill flip="none" rotWithShape="1">
            <a:gsLst>
              <a:gs pos="100000">
                <a:schemeClr val="accent3"/>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p>
        </p:txBody>
      </p:sp>
      <p:sp>
        <p:nvSpPr>
          <p:cNvPr id="7" name="Picture Placeholder 13">
            <a:extLst>
              <a:ext uri="{FF2B5EF4-FFF2-40B4-BE49-F238E27FC236}">
                <a16:creationId xmlns:a16="http://schemas.microsoft.com/office/drawing/2014/main" id="{59B6915F-1823-4615-958F-D8D196ED8692}"/>
              </a:ext>
            </a:extLst>
          </p:cNvPr>
          <p:cNvSpPr>
            <a:spLocks noGrp="1"/>
          </p:cNvSpPr>
          <p:nvPr>
            <p:ph type="pic" sz="quarter" idx="14" hasCustomPrompt="1"/>
          </p:nvPr>
        </p:nvSpPr>
        <p:spPr>
          <a:xfrm>
            <a:off x="5365751" y="260351"/>
            <a:ext cx="6562725" cy="6337300"/>
          </a:xfrm>
          <a:prstGeom prst="rect">
            <a:avLst/>
          </a:prstGeom>
          <a:solidFill>
            <a:schemeClr val="bg1">
              <a:lumMod val="95000"/>
            </a:schemeClr>
          </a:solidFill>
        </p:spPr>
        <p:txBody>
          <a:bodyPr lIns="0" tIns="360000" rIns="360000" bIns="0" anchor="t" anchorCtr="0"/>
          <a:lstStyle>
            <a:lvl1pPr algn="r">
              <a:defRPr sz="1600" b="0" cap="none" baseline="0">
                <a:latin typeface="+mn-lt"/>
              </a:defRPr>
            </a:lvl1pPr>
          </a:lstStyle>
          <a:p>
            <a:r>
              <a:rPr lang="en-US"/>
              <a:t>Click on the icon to insert image in placeholder </a:t>
            </a:r>
            <a:br>
              <a:rPr lang="en-US"/>
            </a:br>
            <a:r>
              <a:rPr lang="en-US"/>
              <a:t>and use the crop tool to center the image</a:t>
            </a:r>
          </a:p>
        </p:txBody>
      </p:sp>
      <p:sp>
        <p:nvSpPr>
          <p:cNvPr id="5" name="Title 4">
            <a:extLst>
              <a:ext uri="{FF2B5EF4-FFF2-40B4-BE49-F238E27FC236}">
                <a16:creationId xmlns:a16="http://schemas.microsoft.com/office/drawing/2014/main" id="{7ADB0E67-A0F8-4E12-9495-3388D2FEB2C0}"/>
              </a:ext>
            </a:extLst>
          </p:cNvPr>
          <p:cNvSpPr>
            <a:spLocks noGrp="1"/>
          </p:cNvSpPr>
          <p:nvPr>
            <p:ph type="title" hasCustomPrompt="1"/>
          </p:nvPr>
        </p:nvSpPr>
        <p:spPr>
          <a:xfrm>
            <a:off x="762001" y="934278"/>
            <a:ext cx="6634163" cy="1181863"/>
          </a:xfrm>
        </p:spPr>
        <p:txBody>
          <a:bodyPr>
            <a:spAutoFit/>
          </a:bodyPr>
          <a:lstStyle>
            <a:lvl1pPr>
              <a:lnSpc>
                <a:spcPct val="80000"/>
              </a:lnSpc>
              <a:defRPr sz="4800" spc="80" baseline="0">
                <a:solidFill>
                  <a:schemeClr val="bg1"/>
                </a:solidFill>
              </a:defRPr>
            </a:lvl1pPr>
          </a:lstStyle>
          <a:p>
            <a:r>
              <a:rPr lang="en-US"/>
              <a:t>CLICK TO EDIT MASTER TITLE STYLE</a:t>
            </a:r>
            <a:endParaRPr lang="en-GB"/>
          </a:p>
        </p:txBody>
      </p:sp>
      <p:sp>
        <p:nvSpPr>
          <p:cNvPr id="13" name="Text Placeholder 2">
            <a:extLst>
              <a:ext uri="{FF2B5EF4-FFF2-40B4-BE49-F238E27FC236}">
                <a16:creationId xmlns:a16="http://schemas.microsoft.com/office/drawing/2014/main" id="{B39FA043-6343-4D03-814F-5850BF226E9E}"/>
              </a:ext>
            </a:extLst>
          </p:cNvPr>
          <p:cNvSpPr>
            <a:spLocks noGrp="1"/>
          </p:cNvSpPr>
          <p:nvPr>
            <p:ph type="body" sz="quarter" idx="37" hasCustomPrompt="1"/>
          </p:nvPr>
        </p:nvSpPr>
        <p:spPr>
          <a:xfrm>
            <a:off x="762000" y="2446817"/>
            <a:ext cx="4032251" cy="2151295"/>
          </a:xfrm>
          <a:prstGeom prst="rect">
            <a:avLst/>
          </a:prstGeom>
        </p:spPr>
        <p:txBody>
          <a:bodyPr>
            <a:spAutoFit/>
          </a:bodyPr>
          <a:lstStyle>
            <a:lvl1pPr>
              <a:lnSpc>
                <a:spcPct val="120000"/>
              </a:lnSpc>
              <a:defRPr sz="2000">
                <a:solidFill>
                  <a:schemeClr val="bg1"/>
                </a:solidFill>
                <a:latin typeface="+mj-lt"/>
              </a:defRPr>
            </a:lvl1pPr>
            <a:lvl2pPr>
              <a:lnSpc>
                <a:spcPct val="120000"/>
              </a:lnSpc>
              <a:defRPr sz="2000">
                <a:solidFill>
                  <a:schemeClr val="bg1"/>
                </a:solidFill>
              </a:defRPr>
            </a:lvl2pPr>
            <a:lvl3pPr>
              <a:lnSpc>
                <a:spcPct val="120000"/>
              </a:lnSpc>
              <a:defRPr sz="2000">
                <a:solidFill>
                  <a:schemeClr val="bg1"/>
                </a:solidFill>
              </a:defRPr>
            </a:lvl3pPr>
            <a:lvl4pPr>
              <a:lnSpc>
                <a:spcPct val="120000"/>
              </a:lnSpc>
              <a:defRPr sz="1800">
                <a:solidFill>
                  <a:schemeClr val="bg1"/>
                </a:solidFill>
              </a:defRPr>
            </a:lvl4pPr>
            <a:lvl5pPr>
              <a:lnSpc>
                <a:spcPct val="120000"/>
              </a:lnSpc>
              <a:defRPr sz="18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944706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asic – On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945A69-626D-DE47-9B9D-85BFA89EE8E5}"/>
              </a:ext>
            </a:extLst>
          </p:cNvPr>
          <p:cNvSpPr>
            <a:spLocks noGrp="1"/>
          </p:cNvSpPr>
          <p:nvPr>
            <p:ph type="title" hasCustomPrompt="1"/>
          </p:nvPr>
        </p:nvSpPr>
        <p:spPr>
          <a:xfrm>
            <a:off x="359999" y="450000"/>
            <a:ext cx="11160000" cy="332399"/>
          </a:xfrm>
        </p:spPr>
        <p:txBody>
          <a:bodyPr/>
          <a:lstStyle>
            <a:lvl1pPr>
              <a:defRPr>
                <a:solidFill>
                  <a:schemeClr val="accent3"/>
                </a:solidFill>
              </a:defRPr>
            </a:lvl1pPr>
          </a:lstStyle>
          <a:p>
            <a:r>
              <a:rPr lang="en-GB"/>
              <a:t>Insert title here</a:t>
            </a:r>
          </a:p>
        </p:txBody>
      </p:sp>
      <p:sp>
        <p:nvSpPr>
          <p:cNvPr id="3" name="Slide Number Placeholder 2">
            <a:extLst>
              <a:ext uri="{FF2B5EF4-FFF2-40B4-BE49-F238E27FC236}">
                <a16:creationId xmlns:a16="http://schemas.microsoft.com/office/drawing/2014/main" id="{983EA732-9062-1341-B955-C5D4864331DC}"/>
              </a:ext>
            </a:extLst>
          </p:cNvPr>
          <p:cNvSpPr>
            <a:spLocks noGrp="1"/>
          </p:cNvSpPr>
          <p:nvPr>
            <p:ph type="sldNum" sz="quarter" idx="10"/>
          </p:nvPr>
        </p:nvSpPr>
        <p:spPr/>
        <p:txBody>
          <a:bodyPr/>
          <a:lstStyle/>
          <a:p>
            <a:fld id="{91AAFA88-51D8-4832-B4D0-D7122A7C4455}" type="slidenum">
              <a:rPr lang="en-SG" smtClean="0"/>
              <a:t>‹#›</a:t>
            </a:fld>
            <a:endParaRPr lang="en-SG"/>
          </a:p>
        </p:txBody>
      </p:sp>
      <p:pic>
        <p:nvPicPr>
          <p:cNvPr id="4" name="Graphic 3">
            <a:extLst>
              <a:ext uri="{FF2B5EF4-FFF2-40B4-BE49-F238E27FC236}">
                <a16:creationId xmlns:a16="http://schemas.microsoft.com/office/drawing/2014/main" id="{2500454D-C186-4846-88E2-F297E7B57C85}"/>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790000" y="180000"/>
            <a:ext cx="233304" cy="233273"/>
          </a:xfrm>
          <a:prstGeom prst="rect">
            <a:avLst/>
          </a:prstGeom>
        </p:spPr>
      </p:pic>
      <p:sp>
        <p:nvSpPr>
          <p:cNvPr id="5" name="Text Placeholder 3">
            <a:extLst>
              <a:ext uri="{FF2B5EF4-FFF2-40B4-BE49-F238E27FC236}">
                <a16:creationId xmlns:a16="http://schemas.microsoft.com/office/drawing/2014/main" id="{D8EA2D1D-70B6-8E45-941F-EE6A1EAA17A6}"/>
              </a:ext>
            </a:extLst>
          </p:cNvPr>
          <p:cNvSpPr>
            <a:spLocks noGrp="1"/>
          </p:cNvSpPr>
          <p:nvPr>
            <p:ph type="body" sz="quarter" idx="51" hasCustomPrompt="1"/>
          </p:nvPr>
        </p:nvSpPr>
        <p:spPr>
          <a:xfrm>
            <a:off x="359999" y="805904"/>
            <a:ext cx="11160000" cy="279692"/>
          </a:xfrm>
          <a:prstGeom prst="rect">
            <a:avLst/>
          </a:prstGeom>
        </p:spPr>
        <p:txBody>
          <a:bodyPr wrap="square">
            <a:spAutoFit/>
          </a:bodyPr>
          <a:lstStyle>
            <a:lvl1pPr>
              <a:defRPr sz="1800" b="0">
                <a:solidFill>
                  <a:schemeClr val="tx1">
                    <a:lumMod val="75000"/>
                    <a:lumOff val="25000"/>
                  </a:schemeClr>
                </a:solidFill>
                <a:latin typeface="+mn-lt"/>
              </a:defRPr>
            </a:lvl1pPr>
            <a:lvl2pPr>
              <a:defRPr sz="2800">
                <a:latin typeface="Graphik Semibold" panose="020B0703030202060203" pitchFamily="34" charset="0"/>
              </a:defRPr>
            </a:lvl2pPr>
          </a:lstStyle>
          <a:p>
            <a:pPr lvl="0"/>
            <a:r>
              <a:rPr lang="en-US"/>
              <a:t>Insert subtitle here</a:t>
            </a:r>
            <a:endParaRPr lang="en-GB"/>
          </a:p>
        </p:txBody>
      </p:sp>
      <p:sp>
        <p:nvSpPr>
          <p:cNvPr id="8" name="Text Placeholder 7">
            <a:extLst>
              <a:ext uri="{FF2B5EF4-FFF2-40B4-BE49-F238E27FC236}">
                <a16:creationId xmlns:a16="http://schemas.microsoft.com/office/drawing/2014/main" id="{B5CB59A7-5C0D-2E40-985C-8EB2BCE5FC0B}"/>
              </a:ext>
            </a:extLst>
          </p:cNvPr>
          <p:cNvSpPr>
            <a:spLocks noGrp="1"/>
          </p:cNvSpPr>
          <p:nvPr>
            <p:ph type="body" sz="quarter" idx="52"/>
          </p:nvPr>
        </p:nvSpPr>
        <p:spPr>
          <a:xfrm>
            <a:off x="359999" y="1503336"/>
            <a:ext cx="11472001" cy="4904664"/>
          </a:xfrm>
        </p:spPr>
        <p:txBody>
          <a:bodyPr/>
          <a:lstStyle>
            <a:lvl1pPr>
              <a:defRPr sz="16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10">
            <a:extLst>
              <a:ext uri="{FF2B5EF4-FFF2-40B4-BE49-F238E27FC236}">
                <a16:creationId xmlns:a16="http://schemas.microsoft.com/office/drawing/2014/main" id="{B79603EE-C7D1-E64E-B902-5E25B3428321}"/>
              </a:ext>
            </a:extLst>
          </p:cNvPr>
          <p:cNvSpPr>
            <a:spLocks noGrp="1"/>
          </p:cNvSpPr>
          <p:nvPr>
            <p:ph type="body" sz="quarter" idx="53" hasCustomPrompt="1"/>
          </p:nvPr>
        </p:nvSpPr>
        <p:spPr>
          <a:xfrm>
            <a:off x="360364" y="6520402"/>
            <a:ext cx="3603712" cy="124329"/>
          </a:xfrm>
        </p:spPr>
        <p:txBody>
          <a:bodyPr wrap="square">
            <a:spAutoFit/>
          </a:bodyPr>
          <a:lstStyle>
            <a:lvl1pPr>
              <a:defRPr sz="800">
                <a:solidFill>
                  <a:schemeClr val="bg1">
                    <a:lumMod val="85000"/>
                  </a:schemeClr>
                </a:solidFill>
              </a:defRPr>
            </a:lvl1pPr>
          </a:lstStyle>
          <a:p>
            <a:pPr lvl="0"/>
            <a:r>
              <a:rPr lang="en-GB"/>
              <a:t>Label (e.g. for listing sources)</a:t>
            </a:r>
          </a:p>
        </p:txBody>
      </p:sp>
    </p:spTree>
    <p:extLst>
      <p:ext uri="{BB962C8B-B14F-4D97-AF65-F5344CB8AC3E}">
        <p14:creationId xmlns:p14="http://schemas.microsoft.com/office/powerpoint/2010/main" val="16664437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asic – Two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945A69-626D-DE47-9B9D-85BFA89EE8E5}"/>
              </a:ext>
            </a:extLst>
          </p:cNvPr>
          <p:cNvSpPr>
            <a:spLocks noGrp="1"/>
          </p:cNvSpPr>
          <p:nvPr>
            <p:ph type="title" hasCustomPrompt="1"/>
          </p:nvPr>
        </p:nvSpPr>
        <p:spPr>
          <a:xfrm>
            <a:off x="359999" y="450000"/>
            <a:ext cx="11160000" cy="332399"/>
          </a:xfrm>
        </p:spPr>
        <p:txBody>
          <a:bodyPr/>
          <a:lstStyle>
            <a:lvl1pPr>
              <a:defRPr>
                <a:solidFill>
                  <a:schemeClr val="accent3"/>
                </a:solidFill>
              </a:defRPr>
            </a:lvl1pPr>
          </a:lstStyle>
          <a:p>
            <a:r>
              <a:rPr lang="en-GB"/>
              <a:t>Insert title here</a:t>
            </a:r>
          </a:p>
        </p:txBody>
      </p:sp>
      <p:sp>
        <p:nvSpPr>
          <p:cNvPr id="3" name="Slide Number Placeholder 2">
            <a:extLst>
              <a:ext uri="{FF2B5EF4-FFF2-40B4-BE49-F238E27FC236}">
                <a16:creationId xmlns:a16="http://schemas.microsoft.com/office/drawing/2014/main" id="{983EA732-9062-1341-B955-C5D4864331DC}"/>
              </a:ext>
            </a:extLst>
          </p:cNvPr>
          <p:cNvSpPr>
            <a:spLocks noGrp="1"/>
          </p:cNvSpPr>
          <p:nvPr>
            <p:ph type="sldNum" sz="quarter" idx="10"/>
          </p:nvPr>
        </p:nvSpPr>
        <p:spPr/>
        <p:txBody>
          <a:bodyPr/>
          <a:lstStyle/>
          <a:p>
            <a:fld id="{91AAFA88-51D8-4832-B4D0-D7122A7C4455}" type="slidenum">
              <a:rPr lang="en-SG" smtClean="0"/>
              <a:t>‹#›</a:t>
            </a:fld>
            <a:endParaRPr lang="en-SG"/>
          </a:p>
        </p:txBody>
      </p:sp>
      <p:pic>
        <p:nvPicPr>
          <p:cNvPr id="4" name="Graphic 3">
            <a:extLst>
              <a:ext uri="{FF2B5EF4-FFF2-40B4-BE49-F238E27FC236}">
                <a16:creationId xmlns:a16="http://schemas.microsoft.com/office/drawing/2014/main" id="{2500454D-C186-4846-88E2-F297E7B57C85}"/>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790000" y="180000"/>
            <a:ext cx="233304" cy="233273"/>
          </a:xfrm>
          <a:prstGeom prst="rect">
            <a:avLst/>
          </a:prstGeom>
        </p:spPr>
      </p:pic>
      <p:sp>
        <p:nvSpPr>
          <p:cNvPr id="5" name="Text Placeholder 3">
            <a:extLst>
              <a:ext uri="{FF2B5EF4-FFF2-40B4-BE49-F238E27FC236}">
                <a16:creationId xmlns:a16="http://schemas.microsoft.com/office/drawing/2014/main" id="{D8EA2D1D-70B6-8E45-941F-EE6A1EAA17A6}"/>
              </a:ext>
            </a:extLst>
          </p:cNvPr>
          <p:cNvSpPr>
            <a:spLocks noGrp="1"/>
          </p:cNvSpPr>
          <p:nvPr>
            <p:ph type="body" sz="quarter" idx="51" hasCustomPrompt="1"/>
          </p:nvPr>
        </p:nvSpPr>
        <p:spPr>
          <a:xfrm>
            <a:off x="359999" y="805904"/>
            <a:ext cx="11160000" cy="279692"/>
          </a:xfrm>
          <a:prstGeom prst="rect">
            <a:avLst/>
          </a:prstGeom>
        </p:spPr>
        <p:txBody>
          <a:bodyPr wrap="square">
            <a:spAutoFit/>
          </a:bodyPr>
          <a:lstStyle>
            <a:lvl1pPr>
              <a:defRPr sz="1800" b="0">
                <a:solidFill>
                  <a:schemeClr val="tx1">
                    <a:lumMod val="75000"/>
                    <a:lumOff val="25000"/>
                  </a:schemeClr>
                </a:solidFill>
                <a:latin typeface="+mn-lt"/>
              </a:defRPr>
            </a:lvl1pPr>
            <a:lvl2pPr>
              <a:defRPr sz="2800">
                <a:latin typeface="Graphik Semibold" panose="020B0703030202060203" pitchFamily="34" charset="0"/>
              </a:defRPr>
            </a:lvl2pPr>
          </a:lstStyle>
          <a:p>
            <a:pPr lvl="0"/>
            <a:r>
              <a:rPr lang="en-US"/>
              <a:t>Insert subtitle here</a:t>
            </a:r>
            <a:endParaRPr lang="en-GB"/>
          </a:p>
        </p:txBody>
      </p:sp>
      <p:sp>
        <p:nvSpPr>
          <p:cNvPr id="8" name="Text Placeholder 7">
            <a:extLst>
              <a:ext uri="{FF2B5EF4-FFF2-40B4-BE49-F238E27FC236}">
                <a16:creationId xmlns:a16="http://schemas.microsoft.com/office/drawing/2014/main" id="{B5CB59A7-5C0D-2E40-985C-8EB2BCE5FC0B}"/>
              </a:ext>
            </a:extLst>
          </p:cNvPr>
          <p:cNvSpPr>
            <a:spLocks noGrp="1"/>
          </p:cNvSpPr>
          <p:nvPr>
            <p:ph type="body" sz="quarter" idx="52"/>
          </p:nvPr>
        </p:nvSpPr>
        <p:spPr>
          <a:xfrm>
            <a:off x="359999" y="1503336"/>
            <a:ext cx="5509825" cy="4903702"/>
          </a:xfrm>
        </p:spPr>
        <p:txBody>
          <a:bodyPr/>
          <a:lstStyle>
            <a:lvl1pPr>
              <a:defRPr sz="16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7">
            <a:extLst>
              <a:ext uri="{FF2B5EF4-FFF2-40B4-BE49-F238E27FC236}">
                <a16:creationId xmlns:a16="http://schemas.microsoft.com/office/drawing/2014/main" id="{D5185631-3AD9-2540-AEA8-D0DCA0079BD7}"/>
              </a:ext>
            </a:extLst>
          </p:cNvPr>
          <p:cNvSpPr>
            <a:spLocks noGrp="1"/>
          </p:cNvSpPr>
          <p:nvPr>
            <p:ph type="body" sz="quarter" idx="53"/>
          </p:nvPr>
        </p:nvSpPr>
        <p:spPr>
          <a:xfrm>
            <a:off x="6322175" y="1503336"/>
            <a:ext cx="5509827" cy="4903702"/>
          </a:xfrm>
        </p:spPr>
        <p:txBody>
          <a:bodyPr/>
          <a:lstStyle>
            <a:lvl1pPr>
              <a:defRPr sz="16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0">
            <a:extLst>
              <a:ext uri="{FF2B5EF4-FFF2-40B4-BE49-F238E27FC236}">
                <a16:creationId xmlns:a16="http://schemas.microsoft.com/office/drawing/2014/main" id="{6E08EF76-145F-BF4E-BF98-AAC58754857E}"/>
              </a:ext>
            </a:extLst>
          </p:cNvPr>
          <p:cNvSpPr>
            <a:spLocks noGrp="1"/>
          </p:cNvSpPr>
          <p:nvPr>
            <p:ph type="body" sz="quarter" idx="54" hasCustomPrompt="1"/>
          </p:nvPr>
        </p:nvSpPr>
        <p:spPr>
          <a:xfrm>
            <a:off x="360364" y="6520402"/>
            <a:ext cx="3603712" cy="124329"/>
          </a:xfrm>
        </p:spPr>
        <p:txBody>
          <a:bodyPr wrap="square">
            <a:spAutoFit/>
          </a:bodyPr>
          <a:lstStyle>
            <a:lvl1pPr>
              <a:defRPr sz="800">
                <a:solidFill>
                  <a:schemeClr val="bg1">
                    <a:lumMod val="85000"/>
                  </a:schemeClr>
                </a:solidFill>
              </a:defRPr>
            </a:lvl1pPr>
          </a:lstStyle>
          <a:p>
            <a:pPr lvl="0"/>
            <a:r>
              <a:rPr lang="en-GB"/>
              <a:t>Label (e.g. for listing sources)</a:t>
            </a:r>
          </a:p>
        </p:txBody>
      </p:sp>
    </p:spTree>
    <p:extLst>
      <p:ext uri="{BB962C8B-B14F-4D97-AF65-F5344CB8AC3E}">
        <p14:creationId xmlns:p14="http://schemas.microsoft.com/office/powerpoint/2010/main" val="21367611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asic – Thre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945A69-626D-DE47-9B9D-85BFA89EE8E5}"/>
              </a:ext>
            </a:extLst>
          </p:cNvPr>
          <p:cNvSpPr>
            <a:spLocks noGrp="1"/>
          </p:cNvSpPr>
          <p:nvPr>
            <p:ph type="title" hasCustomPrompt="1"/>
          </p:nvPr>
        </p:nvSpPr>
        <p:spPr>
          <a:xfrm>
            <a:off x="359999" y="450000"/>
            <a:ext cx="11160000" cy="332399"/>
          </a:xfrm>
        </p:spPr>
        <p:txBody>
          <a:bodyPr/>
          <a:lstStyle>
            <a:lvl1pPr>
              <a:defRPr>
                <a:solidFill>
                  <a:schemeClr val="accent3"/>
                </a:solidFill>
              </a:defRPr>
            </a:lvl1pPr>
          </a:lstStyle>
          <a:p>
            <a:r>
              <a:rPr lang="en-GB"/>
              <a:t>Insert title here</a:t>
            </a:r>
          </a:p>
        </p:txBody>
      </p:sp>
      <p:sp>
        <p:nvSpPr>
          <p:cNvPr id="3" name="Slide Number Placeholder 2">
            <a:extLst>
              <a:ext uri="{FF2B5EF4-FFF2-40B4-BE49-F238E27FC236}">
                <a16:creationId xmlns:a16="http://schemas.microsoft.com/office/drawing/2014/main" id="{983EA732-9062-1341-B955-C5D4864331DC}"/>
              </a:ext>
            </a:extLst>
          </p:cNvPr>
          <p:cNvSpPr>
            <a:spLocks noGrp="1"/>
          </p:cNvSpPr>
          <p:nvPr>
            <p:ph type="sldNum" sz="quarter" idx="10"/>
          </p:nvPr>
        </p:nvSpPr>
        <p:spPr/>
        <p:txBody>
          <a:bodyPr/>
          <a:lstStyle/>
          <a:p>
            <a:fld id="{91AAFA88-51D8-4832-B4D0-D7122A7C4455}" type="slidenum">
              <a:rPr lang="en-SG" smtClean="0"/>
              <a:t>‹#›</a:t>
            </a:fld>
            <a:endParaRPr lang="en-SG"/>
          </a:p>
        </p:txBody>
      </p:sp>
      <p:pic>
        <p:nvPicPr>
          <p:cNvPr id="4" name="Graphic 3">
            <a:extLst>
              <a:ext uri="{FF2B5EF4-FFF2-40B4-BE49-F238E27FC236}">
                <a16:creationId xmlns:a16="http://schemas.microsoft.com/office/drawing/2014/main" id="{2500454D-C186-4846-88E2-F297E7B57C85}"/>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790000" y="180000"/>
            <a:ext cx="233304" cy="233273"/>
          </a:xfrm>
          <a:prstGeom prst="rect">
            <a:avLst/>
          </a:prstGeom>
        </p:spPr>
      </p:pic>
      <p:sp>
        <p:nvSpPr>
          <p:cNvPr id="5" name="Text Placeholder 3">
            <a:extLst>
              <a:ext uri="{FF2B5EF4-FFF2-40B4-BE49-F238E27FC236}">
                <a16:creationId xmlns:a16="http://schemas.microsoft.com/office/drawing/2014/main" id="{D8EA2D1D-70B6-8E45-941F-EE6A1EAA17A6}"/>
              </a:ext>
            </a:extLst>
          </p:cNvPr>
          <p:cNvSpPr>
            <a:spLocks noGrp="1"/>
          </p:cNvSpPr>
          <p:nvPr>
            <p:ph type="body" sz="quarter" idx="51" hasCustomPrompt="1"/>
          </p:nvPr>
        </p:nvSpPr>
        <p:spPr>
          <a:xfrm>
            <a:off x="359999" y="805904"/>
            <a:ext cx="11160000" cy="279692"/>
          </a:xfrm>
          <a:prstGeom prst="rect">
            <a:avLst/>
          </a:prstGeom>
        </p:spPr>
        <p:txBody>
          <a:bodyPr wrap="square">
            <a:spAutoFit/>
          </a:bodyPr>
          <a:lstStyle>
            <a:lvl1pPr>
              <a:defRPr sz="1800" b="0">
                <a:solidFill>
                  <a:schemeClr val="tx1">
                    <a:lumMod val="75000"/>
                    <a:lumOff val="25000"/>
                  </a:schemeClr>
                </a:solidFill>
                <a:latin typeface="+mn-lt"/>
              </a:defRPr>
            </a:lvl1pPr>
            <a:lvl2pPr>
              <a:defRPr sz="2800">
                <a:latin typeface="Graphik Semibold" panose="020B0703030202060203" pitchFamily="34" charset="0"/>
              </a:defRPr>
            </a:lvl2pPr>
          </a:lstStyle>
          <a:p>
            <a:pPr lvl="0"/>
            <a:r>
              <a:rPr lang="en-US"/>
              <a:t>Insert subtitle here</a:t>
            </a:r>
            <a:endParaRPr lang="en-GB"/>
          </a:p>
        </p:txBody>
      </p:sp>
      <p:sp>
        <p:nvSpPr>
          <p:cNvPr id="8" name="Text Placeholder 7">
            <a:extLst>
              <a:ext uri="{FF2B5EF4-FFF2-40B4-BE49-F238E27FC236}">
                <a16:creationId xmlns:a16="http://schemas.microsoft.com/office/drawing/2014/main" id="{B5CB59A7-5C0D-2E40-985C-8EB2BCE5FC0B}"/>
              </a:ext>
            </a:extLst>
          </p:cNvPr>
          <p:cNvSpPr>
            <a:spLocks noGrp="1"/>
          </p:cNvSpPr>
          <p:nvPr>
            <p:ph type="body" sz="quarter" idx="52"/>
          </p:nvPr>
        </p:nvSpPr>
        <p:spPr>
          <a:xfrm>
            <a:off x="359999" y="1503336"/>
            <a:ext cx="3541825" cy="4903702"/>
          </a:xfrm>
        </p:spPr>
        <p:txBody>
          <a:bodyPr/>
          <a:lstStyle>
            <a:lvl1pPr>
              <a:defRPr sz="16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7">
            <a:extLst>
              <a:ext uri="{FF2B5EF4-FFF2-40B4-BE49-F238E27FC236}">
                <a16:creationId xmlns:a16="http://schemas.microsoft.com/office/drawing/2014/main" id="{D5185631-3AD9-2540-AEA8-D0DCA0079BD7}"/>
              </a:ext>
            </a:extLst>
          </p:cNvPr>
          <p:cNvSpPr>
            <a:spLocks noGrp="1"/>
          </p:cNvSpPr>
          <p:nvPr>
            <p:ph type="body" sz="quarter" idx="53"/>
          </p:nvPr>
        </p:nvSpPr>
        <p:spPr>
          <a:xfrm>
            <a:off x="4354175" y="1503336"/>
            <a:ext cx="3483650" cy="4903702"/>
          </a:xfrm>
        </p:spPr>
        <p:txBody>
          <a:bodyPr/>
          <a:lstStyle>
            <a:lvl1pPr>
              <a:defRPr sz="16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7">
            <a:extLst>
              <a:ext uri="{FF2B5EF4-FFF2-40B4-BE49-F238E27FC236}">
                <a16:creationId xmlns:a16="http://schemas.microsoft.com/office/drawing/2014/main" id="{2D97288B-2C05-194F-A0E9-2593120DAFCE}"/>
              </a:ext>
            </a:extLst>
          </p:cNvPr>
          <p:cNvSpPr>
            <a:spLocks noGrp="1"/>
          </p:cNvSpPr>
          <p:nvPr>
            <p:ph type="body" sz="quarter" idx="54"/>
          </p:nvPr>
        </p:nvSpPr>
        <p:spPr>
          <a:xfrm>
            <a:off x="8290175" y="1503336"/>
            <a:ext cx="3541825" cy="4903702"/>
          </a:xfrm>
        </p:spPr>
        <p:txBody>
          <a:bodyPr/>
          <a:lstStyle>
            <a:lvl1pPr>
              <a:defRPr sz="16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0">
            <a:extLst>
              <a:ext uri="{FF2B5EF4-FFF2-40B4-BE49-F238E27FC236}">
                <a16:creationId xmlns:a16="http://schemas.microsoft.com/office/drawing/2014/main" id="{AEF7F5F4-3D53-9049-A0FC-1728AA8DDA0E}"/>
              </a:ext>
            </a:extLst>
          </p:cNvPr>
          <p:cNvSpPr>
            <a:spLocks noGrp="1"/>
          </p:cNvSpPr>
          <p:nvPr>
            <p:ph type="body" sz="quarter" idx="55" hasCustomPrompt="1"/>
          </p:nvPr>
        </p:nvSpPr>
        <p:spPr>
          <a:xfrm>
            <a:off x="360364" y="6520402"/>
            <a:ext cx="3603712" cy="124329"/>
          </a:xfrm>
        </p:spPr>
        <p:txBody>
          <a:bodyPr wrap="square">
            <a:spAutoFit/>
          </a:bodyPr>
          <a:lstStyle>
            <a:lvl1pPr>
              <a:defRPr sz="800">
                <a:solidFill>
                  <a:schemeClr val="bg1">
                    <a:lumMod val="85000"/>
                  </a:schemeClr>
                </a:solidFill>
              </a:defRPr>
            </a:lvl1pPr>
          </a:lstStyle>
          <a:p>
            <a:pPr lvl="0"/>
            <a:r>
              <a:rPr lang="en-GB"/>
              <a:t>Label (e.g. for listing sources)</a:t>
            </a:r>
          </a:p>
        </p:txBody>
      </p:sp>
    </p:spTree>
    <p:extLst>
      <p:ext uri="{BB962C8B-B14F-4D97-AF65-F5344CB8AC3E}">
        <p14:creationId xmlns:p14="http://schemas.microsoft.com/office/powerpoint/2010/main" val="33503352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asic – Six Cel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945A69-626D-DE47-9B9D-85BFA89EE8E5}"/>
              </a:ext>
            </a:extLst>
          </p:cNvPr>
          <p:cNvSpPr>
            <a:spLocks noGrp="1"/>
          </p:cNvSpPr>
          <p:nvPr>
            <p:ph type="title" hasCustomPrompt="1"/>
          </p:nvPr>
        </p:nvSpPr>
        <p:spPr>
          <a:xfrm>
            <a:off x="359999" y="450000"/>
            <a:ext cx="11160000" cy="332399"/>
          </a:xfrm>
        </p:spPr>
        <p:txBody>
          <a:bodyPr/>
          <a:lstStyle>
            <a:lvl1pPr>
              <a:defRPr>
                <a:solidFill>
                  <a:schemeClr val="accent3"/>
                </a:solidFill>
              </a:defRPr>
            </a:lvl1pPr>
          </a:lstStyle>
          <a:p>
            <a:r>
              <a:rPr lang="en-GB"/>
              <a:t>Insert title here</a:t>
            </a:r>
          </a:p>
        </p:txBody>
      </p:sp>
      <p:sp>
        <p:nvSpPr>
          <p:cNvPr id="3" name="Slide Number Placeholder 2">
            <a:extLst>
              <a:ext uri="{FF2B5EF4-FFF2-40B4-BE49-F238E27FC236}">
                <a16:creationId xmlns:a16="http://schemas.microsoft.com/office/drawing/2014/main" id="{983EA732-9062-1341-B955-C5D4864331DC}"/>
              </a:ext>
            </a:extLst>
          </p:cNvPr>
          <p:cNvSpPr>
            <a:spLocks noGrp="1"/>
          </p:cNvSpPr>
          <p:nvPr>
            <p:ph type="sldNum" sz="quarter" idx="10"/>
          </p:nvPr>
        </p:nvSpPr>
        <p:spPr/>
        <p:txBody>
          <a:bodyPr/>
          <a:lstStyle/>
          <a:p>
            <a:fld id="{91AAFA88-51D8-4832-B4D0-D7122A7C4455}" type="slidenum">
              <a:rPr lang="en-SG" smtClean="0"/>
              <a:t>‹#›</a:t>
            </a:fld>
            <a:endParaRPr lang="en-SG"/>
          </a:p>
        </p:txBody>
      </p:sp>
      <p:pic>
        <p:nvPicPr>
          <p:cNvPr id="4" name="Graphic 3">
            <a:extLst>
              <a:ext uri="{FF2B5EF4-FFF2-40B4-BE49-F238E27FC236}">
                <a16:creationId xmlns:a16="http://schemas.microsoft.com/office/drawing/2014/main" id="{2500454D-C186-4846-88E2-F297E7B57C85}"/>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790000" y="180000"/>
            <a:ext cx="233304" cy="233273"/>
          </a:xfrm>
          <a:prstGeom prst="rect">
            <a:avLst/>
          </a:prstGeom>
        </p:spPr>
      </p:pic>
      <p:sp>
        <p:nvSpPr>
          <p:cNvPr id="5" name="Text Placeholder 3">
            <a:extLst>
              <a:ext uri="{FF2B5EF4-FFF2-40B4-BE49-F238E27FC236}">
                <a16:creationId xmlns:a16="http://schemas.microsoft.com/office/drawing/2014/main" id="{D8EA2D1D-70B6-8E45-941F-EE6A1EAA17A6}"/>
              </a:ext>
            </a:extLst>
          </p:cNvPr>
          <p:cNvSpPr>
            <a:spLocks noGrp="1"/>
          </p:cNvSpPr>
          <p:nvPr>
            <p:ph type="body" sz="quarter" idx="51" hasCustomPrompt="1"/>
          </p:nvPr>
        </p:nvSpPr>
        <p:spPr>
          <a:xfrm>
            <a:off x="359999" y="805904"/>
            <a:ext cx="11160000" cy="279692"/>
          </a:xfrm>
          <a:prstGeom prst="rect">
            <a:avLst/>
          </a:prstGeom>
        </p:spPr>
        <p:txBody>
          <a:bodyPr wrap="square">
            <a:spAutoFit/>
          </a:bodyPr>
          <a:lstStyle>
            <a:lvl1pPr>
              <a:defRPr sz="1800" b="0">
                <a:solidFill>
                  <a:schemeClr val="tx1">
                    <a:lumMod val="75000"/>
                    <a:lumOff val="25000"/>
                  </a:schemeClr>
                </a:solidFill>
                <a:latin typeface="+mn-lt"/>
              </a:defRPr>
            </a:lvl1pPr>
            <a:lvl2pPr>
              <a:defRPr sz="2800">
                <a:latin typeface="Graphik Semibold" panose="020B0703030202060203" pitchFamily="34" charset="0"/>
              </a:defRPr>
            </a:lvl2pPr>
          </a:lstStyle>
          <a:p>
            <a:pPr lvl="0"/>
            <a:r>
              <a:rPr lang="en-US"/>
              <a:t>Insert subtitle here</a:t>
            </a:r>
            <a:endParaRPr lang="en-GB"/>
          </a:p>
        </p:txBody>
      </p:sp>
      <p:sp>
        <p:nvSpPr>
          <p:cNvPr id="8" name="Text Placeholder 7">
            <a:extLst>
              <a:ext uri="{FF2B5EF4-FFF2-40B4-BE49-F238E27FC236}">
                <a16:creationId xmlns:a16="http://schemas.microsoft.com/office/drawing/2014/main" id="{B5CB59A7-5C0D-2E40-985C-8EB2BCE5FC0B}"/>
              </a:ext>
            </a:extLst>
          </p:cNvPr>
          <p:cNvSpPr>
            <a:spLocks noGrp="1"/>
          </p:cNvSpPr>
          <p:nvPr>
            <p:ph type="body" sz="quarter" idx="52"/>
          </p:nvPr>
        </p:nvSpPr>
        <p:spPr>
          <a:xfrm>
            <a:off x="359999" y="1503336"/>
            <a:ext cx="3541825" cy="1775441"/>
          </a:xfrm>
        </p:spPr>
        <p:txBody>
          <a:bodyPr/>
          <a:lstStyle>
            <a:lvl1pPr>
              <a:defRPr sz="16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7">
            <a:extLst>
              <a:ext uri="{FF2B5EF4-FFF2-40B4-BE49-F238E27FC236}">
                <a16:creationId xmlns:a16="http://schemas.microsoft.com/office/drawing/2014/main" id="{D5185631-3AD9-2540-AEA8-D0DCA0079BD7}"/>
              </a:ext>
            </a:extLst>
          </p:cNvPr>
          <p:cNvSpPr>
            <a:spLocks noGrp="1"/>
          </p:cNvSpPr>
          <p:nvPr>
            <p:ph type="body" sz="quarter" idx="53"/>
          </p:nvPr>
        </p:nvSpPr>
        <p:spPr>
          <a:xfrm>
            <a:off x="4354175" y="1503336"/>
            <a:ext cx="3483650" cy="1775441"/>
          </a:xfrm>
        </p:spPr>
        <p:txBody>
          <a:bodyPr/>
          <a:lstStyle>
            <a:lvl1pPr>
              <a:defRPr sz="16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7">
            <a:extLst>
              <a:ext uri="{FF2B5EF4-FFF2-40B4-BE49-F238E27FC236}">
                <a16:creationId xmlns:a16="http://schemas.microsoft.com/office/drawing/2014/main" id="{2D97288B-2C05-194F-A0E9-2593120DAFCE}"/>
              </a:ext>
            </a:extLst>
          </p:cNvPr>
          <p:cNvSpPr>
            <a:spLocks noGrp="1"/>
          </p:cNvSpPr>
          <p:nvPr>
            <p:ph type="body" sz="quarter" idx="54"/>
          </p:nvPr>
        </p:nvSpPr>
        <p:spPr>
          <a:xfrm>
            <a:off x="8290175" y="1503336"/>
            <a:ext cx="3541825" cy="1775441"/>
          </a:xfrm>
        </p:spPr>
        <p:txBody>
          <a:bodyPr/>
          <a:lstStyle>
            <a:lvl1pPr>
              <a:defRPr sz="16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0">
            <a:extLst>
              <a:ext uri="{FF2B5EF4-FFF2-40B4-BE49-F238E27FC236}">
                <a16:creationId xmlns:a16="http://schemas.microsoft.com/office/drawing/2014/main" id="{AEF7F5F4-3D53-9049-A0FC-1728AA8DDA0E}"/>
              </a:ext>
            </a:extLst>
          </p:cNvPr>
          <p:cNvSpPr>
            <a:spLocks noGrp="1"/>
          </p:cNvSpPr>
          <p:nvPr>
            <p:ph type="body" sz="quarter" idx="55" hasCustomPrompt="1"/>
          </p:nvPr>
        </p:nvSpPr>
        <p:spPr>
          <a:xfrm>
            <a:off x="360364" y="6520402"/>
            <a:ext cx="3603712" cy="124329"/>
          </a:xfrm>
        </p:spPr>
        <p:txBody>
          <a:bodyPr wrap="square">
            <a:spAutoFit/>
          </a:bodyPr>
          <a:lstStyle>
            <a:lvl1pPr>
              <a:defRPr sz="800">
                <a:solidFill>
                  <a:schemeClr val="bg1">
                    <a:lumMod val="85000"/>
                  </a:schemeClr>
                </a:solidFill>
              </a:defRPr>
            </a:lvl1pPr>
          </a:lstStyle>
          <a:p>
            <a:pPr lvl="0"/>
            <a:r>
              <a:rPr lang="en-GB"/>
              <a:t>Label (e.g. for listing sources)</a:t>
            </a:r>
          </a:p>
        </p:txBody>
      </p:sp>
      <p:sp>
        <p:nvSpPr>
          <p:cNvPr id="11" name="Text Placeholder 7">
            <a:extLst>
              <a:ext uri="{FF2B5EF4-FFF2-40B4-BE49-F238E27FC236}">
                <a16:creationId xmlns:a16="http://schemas.microsoft.com/office/drawing/2014/main" id="{165ADBF8-93A6-7448-8B7B-EC33EA38A653}"/>
              </a:ext>
            </a:extLst>
          </p:cNvPr>
          <p:cNvSpPr>
            <a:spLocks noGrp="1"/>
          </p:cNvSpPr>
          <p:nvPr>
            <p:ph type="body" sz="quarter" idx="56"/>
          </p:nvPr>
        </p:nvSpPr>
        <p:spPr>
          <a:xfrm>
            <a:off x="359999" y="3696517"/>
            <a:ext cx="3541825" cy="1775441"/>
          </a:xfrm>
        </p:spPr>
        <p:txBody>
          <a:bodyPr/>
          <a:lstStyle>
            <a:lvl1pPr>
              <a:defRPr sz="16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7">
            <a:extLst>
              <a:ext uri="{FF2B5EF4-FFF2-40B4-BE49-F238E27FC236}">
                <a16:creationId xmlns:a16="http://schemas.microsoft.com/office/drawing/2014/main" id="{3E3593C9-2A8E-F448-8A9B-FC09044E0161}"/>
              </a:ext>
            </a:extLst>
          </p:cNvPr>
          <p:cNvSpPr>
            <a:spLocks noGrp="1"/>
          </p:cNvSpPr>
          <p:nvPr>
            <p:ph type="body" sz="quarter" idx="57"/>
          </p:nvPr>
        </p:nvSpPr>
        <p:spPr>
          <a:xfrm>
            <a:off x="4354175" y="3696517"/>
            <a:ext cx="3483650" cy="1775441"/>
          </a:xfrm>
        </p:spPr>
        <p:txBody>
          <a:bodyPr/>
          <a:lstStyle>
            <a:lvl1pPr>
              <a:defRPr sz="16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7">
            <a:extLst>
              <a:ext uri="{FF2B5EF4-FFF2-40B4-BE49-F238E27FC236}">
                <a16:creationId xmlns:a16="http://schemas.microsoft.com/office/drawing/2014/main" id="{D3A4AE51-ADD1-5F44-A385-FF7E88D1003D}"/>
              </a:ext>
            </a:extLst>
          </p:cNvPr>
          <p:cNvSpPr>
            <a:spLocks noGrp="1"/>
          </p:cNvSpPr>
          <p:nvPr>
            <p:ph type="body" sz="quarter" idx="58"/>
          </p:nvPr>
        </p:nvSpPr>
        <p:spPr>
          <a:xfrm>
            <a:off x="8290175" y="3696517"/>
            <a:ext cx="3541825" cy="1775441"/>
          </a:xfrm>
        </p:spPr>
        <p:txBody>
          <a:bodyPr/>
          <a:lstStyle>
            <a:lvl1pPr>
              <a:defRPr sz="16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45016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asic – Text Left, Pictur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945A69-626D-DE47-9B9D-85BFA89EE8E5}"/>
              </a:ext>
            </a:extLst>
          </p:cNvPr>
          <p:cNvSpPr>
            <a:spLocks noGrp="1"/>
          </p:cNvSpPr>
          <p:nvPr>
            <p:ph type="title" hasCustomPrompt="1"/>
          </p:nvPr>
        </p:nvSpPr>
        <p:spPr>
          <a:xfrm>
            <a:off x="359999" y="450000"/>
            <a:ext cx="11160000" cy="332399"/>
          </a:xfrm>
        </p:spPr>
        <p:txBody>
          <a:bodyPr/>
          <a:lstStyle>
            <a:lvl1pPr>
              <a:defRPr>
                <a:solidFill>
                  <a:schemeClr val="accent3"/>
                </a:solidFill>
              </a:defRPr>
            </a:lvl1pPr>
          </a:lstStyle>
          <a:p>
            <a:r>
              <a:rPr lang="en-GB"/>
              <a:t>Insert title here</a:t>
            </a:r>
          </a:p>
        </p:txBody>
      </p:sp>
      <p:sp>
        <p:nvSpPr>
          <p:cNvPr id="3" name="Slide Number Placeholder 2">
            <a:extLst>
              <a:ext uri="{FF2B5EF4-FFF2-40B4-BE49-F238E27FC236}">
                <a16:creationId xmlns:a16="http://schemas.microsoft.com/office/drawing/2014/main" id="{983EA732-9062-1341-B955-C5D4864331DC}"/>
              </a:ext>
            </a:extLst>
          </p:cNvPr>
          <p:cNvSpPr>
            <a:spLocks noGrp="1"/>
          </p:cNvSpPr>
          <p:nvPr>
            <p:ph type="sldNum" sz="quarter" idx="10"/>
          </p:nvPr>
        </p:nvSpPr>
        <p:spPr/>
        <p:txBody>
          <a:bodyPr/>
          <a:lstStyle/>
          <a:p>
            <a:fld id="{91AAFA88-51D8-4832-B4D0-D7122A7C4455}" type="slidenum">
              <a:rPr lang="en-SG" smtClean="0"/>
              <a:t>‹#›</a:t>
            </a:fld>
            <a:endParaRPr lang="en-SG"/>
          </a:p>
        </p:txBody>
      </p:sp>
      <p:pic>
        <p:nvPicPr>
          <p:cNvPr id="4" name="Graphic 3">
            <a:extLst>
              <a:ext uri="{FF2B5EF4-FFF2-40B4-BE49-F238E27FC236}">
                <a16:creationId xmlns:a16="http://schemas.microsoft.com/office/drawing/2014/main" id="{2500454D-C186-4846-88E2-F297E7B57C85}"/>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790000" y="180000"/>
            <a:ext cx="233304" cy="233273"/>
          </a:xfrm>
          <a:prstGeom prst="rect">
            <a:avLst/>
          </a:prstGeom>
        </p:spPr>
      </p:pic>
      <p:sp>
        <p:nvSpPr>
          <p:cNvPr id="5" name="Text Placeholder 3">
            <a:extLst>
              <a:ext uri="{FF2B5EF4-FFF2-40B4-BE49-F238E27FC236}">
                <a16:creationId xmlns:a16="http://schemas.microsoft.com/office/drawing/2014/main" id="{D8EA2D1D-70B6-8E45-941F-EE6A1EAA17A6}"/>
              </a:ext>
            </a:extLst>
          </p:cNvPr>
          <p:cNvSpPr>
            <a:spLocks noGrp="1"/>
          </p:cNvSpPr>
          <p:nvPr>
            <p:ph type="body" sz="quarter" idx="51" hasCustomPrompt="1"/>
          </p:nvPr>
        </p:nvSpPr>
        <p:spPr>
          <a:xfrm>
            <a:off x="359999" y="805904"/>
            <a:ext cx="11160000" cy="279692"/>
          </a:xfrm>
          <a:prstGeom prst="rect">
            <a:avLst/>
          </a:prstGeom>
        </p:spPr>
        <p:txBody>
          <a:bodyPr wrap="square">
            <a:spAutoFit/>
          </a:bodyPr>
          <a:lstStyle>
            <a:lvl1pPr>
              <a:defRPr sz="1800" b="0">
                <a:solidFill>
                  <a:schemeClr val="tx1">
                    <a:lumMod val="75000"/>
                    <a:lumOff val="25000"/>
                  </a:schemeClr>
                </a:solidFill>
                <a:latin typeface="+mn-lt"/>
              </a:defRPr>
            </a:lvl1pPr>
            <a:lvl2pPr>
              <a:defRPr sz="2800">
                <a:latin typeface="Graphik Semibold" panose="020B0703030202060203" pitchFamily="34" charset="0"/>
              </a:defRPr>
            </a:lvl2pPr>
          </a:lstStyle>
          <a:p>
            <a:pPr lvl="0"/>
            <a:r>
              <a:rPr lang="en-US"/>
              <a:t>Insert subtitle here</a:t>
            </a:r>
            <a:endParaRPr lang="en-GB"/>
          </a:p>
        </p:txBody>
      </p:sp>
      <p:sp>
        <p:nvSpPr>
          <p:cNvPr id="8" name="Text Placeholder 7">
            <a:extLst>
              <a:ext uri="{FF2B5EF4-FFF2-40B4-BE49-F238E27FC236}">
                <a16:creationId xmlns:a16="http://schemas.microsoft.com/office/drawing/2014/main" id="{B5CB59A7-5C0D-2E40-985C-8EB2BCE5FC0B}"/>
              </a:ext>
            </a:extLst>
          </p:cNvPr>
          <p:cNvSpPr>
            <a:spLocks noGrp="1"/>
          </p:cNvSpPr>
          <p:nvPr>
            <p:ph type="body" sz="quarter" idx="52"/>
          </p:nvPr>
        </p:nvSpPr>
        <p:spPr>
          <a:xfrm>
            <a:off x="359999" y="1502612"/>
            <a:ext cx="5515200" cy="4904426"/>
          </a:xfrm>
        </p:spPr>
        <p:txBody>
          <a:bodyPr/>
          <a:lstStyle>
            <a:lvl1pPr>
              <a:defRPr sz="16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Picture Placeholder 9">
            <a:extLst>
              <a:ext uri="{FF2B5EF4-FFF2-40B4-BE49-F238E27FC236}">
                <a16:creationId xmlns:a16="http://schemas.microsoft.com/office/drawing/2014/main" id="{0AAF81EB-F723-5248-B4D9-01AE133F8667}"/>
              </a:ext>
            </a:extLst>
          </p:cNvPr>
          <p:cNvSpPr>
            <a:spLocks noGrp="1"/>
          </p:cNvSpPr>
          <p:nvPr>
            <p:ph type="pic" sz="quarter" idx="54"/>
          </p:nvPr>
        </p:nvSpPr>
        <p:spPr>
          <a:xfrm>
            <a:off x="6316803" y="1503336"/>
            <a:ext cx="5515200" cy="4903814"/>
          </a:xfrm>
          <a:solidFill>
            <a:schemeClr val="bg1">
              <a:lumMod val="95000"/>
            </a:schemeClr>
          </a:solidFill>
        </p:spPr>
        <p:txBody>
          <a:bodyPr/>
          <a:lstStyle/>
          <a:p>
            <a:r>
              <a:rPr lang="en-US"/>
              <a:t>Click icon to add picture</a:t>
            </a:r>
            <a:endParaRPr lang="en-GB"/>
          </a:p>
        </p:txBody>
      </p:sp>
      <p:sp>
        <p:nvSpPr>
          <p:cNvPr id="11" name="Text Placeholder 10">
            <a:extLst>
              <a:ext uri="{FF2B5EF4-FFF2-40B4-BE49-F238E27FC236}">
                <a16:creationId xmlns:a16="http://schemas.microsoft.com/office/drawing/2014/main" id="{2EA41FA8-3586-D947-B436-73AD0813D85F}"/>
              </a:ext>
            </a:extLst>
          </p:cNvPr>
          <p:cNvSpPr>
            <a:spLocks noGrp="1"/>
          </p:cNvSpPr>
          <p:nvPr>
            <p:ph type="body" sz="quarter" idx="55" hasCustomPrompt="1"/>
          </p:nvPr>
        </p:nvSpPr>
        <p:spPr>
          <a:xfrm>
            <a:off x="360364" y="6520402"/>
            <a:ext cx="3603712" cy="124329"/>
          </a:xfrm>
        </p:spPr>
        <p:txBody>
          <a:bodyPr wrap="square">
            <a:spAutoFit/>
          </a:bodyPr>
          <a:lstStyle>
            <a:lvl1pPr>
              <a:defRPr sz="800">
                <a:solidFill>
                  <a:schemeClr val="bg1">
                    <a:lumMod val="85000"/>
                  </a:schemeClr>
                </a:solidFill>
              </a:defRPr>
            </a:lvl1pPr>
          </a:lstStyle>
          <a:p>
            <a:pPr lvl="0"/>
            <a:r>
              <a:rPr lang="en-GB"/>
              <a:t>Label (e.g. for listing sources)</a:t>
            </a:r>
          </a:p>
        </p:txBody>
      </p:sp>
    </p:spTree>
    <p:extLst>
      <p:ext uri="{BB962C8B-B14F-4D97-AF65-F5344CB8AC3E}">
        <p14:creationId xmlns:p14="http://schemas.microsoft.com/office/powerpoint/2010/main" val="36206363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asic – Picture Left, Text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945A69-626D-DE47-9B9D-85BFA89EE8E5}"/>
              </a:ext>
            </a:extLst>
          </p:cNvPr>
          <p:cNvSpPr>
            <a:spLocks noGrp="1"/>
          </p:cNvSpPr>
          <p:nvPr>
            <p:ph type="title" hasCustomPrompt="1"/>
          </p:nvPr>
        </p:nvSpPr>
        <p:spPr>
          <a:xfrm>
            <a:off x="359999" y="450000"/>
            <a:ext cx="11160000" cy="332399"/>
          </a:xfrm>
        </p:spPr>
        <p:txBody>
          <a:bodyPr/>
          <a:lstStyle>
            <a:lvl1pPr>
              <a:defRPr>
                <a:solidFill>
                  <a:schemeClr val="accent3"/>
                </a:solidFill>
              </a:defRPr>
            </a:lvl1pPr>
          </a:lstStyle>
          <a:p>
            <a:r>
              <a:rPr lang="en-GB"/>
              <a:t>Insert title here</a:t>
            </a:r>
          </a:p>
        </p:txBody>
      </p:sp>
      <p:sp>
        <p:nvSpPr>
          <p:cNvPr id="3" name="Slide Number Placeholder 2">
            <a:extLst>
              <a:ext uri="{FF2B5EF4-FFF2-40B4-BE49-F238E27FC236}">
                <a16:creationId xmlns:a16="http://schemas.microsoft.com/office/drawing/2014/main" id="{983EA732-9062-1341-B955-C5D4864331DC}"/>
              </a:ext>
            </a:extLst>
          </p:cNvPr>
          <p:cNvSpPr>
            <a:spLocks noGrp="1"/>
          </p:cNvSpPr>
          <p:nvPr>
            <p:ph type="sldNum" sz="quarter" idx="10"/>
          </p:nvPr>
        </p:nvSpPr>
        <p:spPr/>
        <p:txBody>
          <a:bodyPr/>
          <a:lstStyle/>
          <a:p>
            <a:fld id="{91AAFA88-51D8-4832-B4D0-D7122A7C4455}" type="slidenum">
              <a:rPr lang="en-SG" smtClean="0"/>
              <a:t>‹#›</a:t>
            </a:fld>
            <a:endParaRPr lang="en-SG"/>
          </a:p>
        </p:txBody>
      </p:sp>
      <p:pic>
        <p:nvPicPr>
          <p:cNvPr id="4" name="Graphic 3">
            <a:extLst>
              <a:ext uri="{FF2B5EF4-FFF2-40B4-BE49-F238E27FC236}">
                <a16:creationId xmlns:a16="http://schemas.microsoft.com/office/drawing/2014/main" id="{2500454D-C186-4846-88E2-F297E7B57C85}"/>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790000" y="180000"/>
            <a:ext cx="233304" cy="233273"/>
          </a:xfrm>
          <a:prstGeom prst="rect">
            <a:avLst/>
          </a:prstGeom>
        </p:spPr>
      </p:pic>
      <p:sp>
        <p:nvSpPr>
          <p:cNvPr id="5" name="Text Placeholder 3">
            <a:extLst>
              <a:ext uri="{FF2B5EF4-FFF2-40B4-BE49-F238E27FC236}">
                <a16:creationId xmlns:a16="http://schemas.microsoft.com/office/drawing/2014/main" id="{D8EA2D1D-70B6-8E45-941F-EE6A1EAA17A6}"/>
              </a:ext>
            </a:extLst>
          </p:cNvPr>
          <p:cNvSpPr>
            <a:spLocks noGrp="1"/>
          </p:cNvSpPr>
          <p:nvPr>
            <p:ph type="body" sz="quarter" idx="51" hasCustomPrompt="1"/>
          </p:nvPr>
        </p:nvSpPr>
        <p:spPr>
          <a:xfrm>
            <a:off x="359999" y="805904"/>
            <a:ext cx="11160000" cy="279692"/>
          </a:xfrm>
          <a:prstGeom prst="rect">
            <a:avLst/>
          </a:prstGeom>
        </p:spPr>
        <p:txBody>
          <a:bodyPr wrap="square">
            <a:spAutoFit/>
          </a:bodyPr>
          <a:lstStyle>
            <a:lvl1pPr>
              <a:defRPr sz="1800" b="0">
                <a:solidFill>
                  <a:schemeClr val="tx1">
                    <a:lumMod val="75000"/>
                    <a:lumOff val="25000"/>
                  </a:schemeClr>
                </a:solidFill>
                <a:latin typeface="+mn-lt"/>
              </a:defRPr>
            </a:lvl1pPr>
            <a:lvl2pPr>
              <a:defRPr sz="2800">
                <a:latin typeface="Graphik Semibold" panose="020B0703030202060203" pitchFamily="34" charset="0"/>
              </a:defRPr>
            </a:lvl2pPr>
          </a:lstStyle>
          <a:p>
            <a:pPr lvl="0"/>
            <a:r>
              <a:rPr lang="en-US"/>
              <a:t>Insert subtitle here</a:t>
            </a:r>
            <a:endParaRPr lang="en-GB"/>
          </a:p>
        </p:txBody>
      </p:sp>
      <p:sp>
        <p:nvSpPr>
          <p:cNvPr id="9" name="Text Placeholder 7">
            <a:extLst>
              <a:ext uri="{FF2B5EF4-FFF2-40B4-BE49-F238E27FC236}">
                <a16:creationId xmlns:a16="http://schemas.microsoft.com/office/drawing/2014/main" id="{E64E9627-B9FF-2246-8155-B7D2F841363A}"/>
              </a:ext>
            </a:extLst>
          </p:cNvPr>
          <p:cNvSpPr>
            <a:spLocks noGrp="1"/>
          </p:cNvSpPr>
          <p:nvPr>
            <p:ph type="body" sz="quarter" idx="52"/>
          </p:nvPr>
        </p:nvSpPr>
        <p:spPr>
          <a:xfrm>
            <a:off x="6316800" y="1502612"/>
            <a:ext cx="5515200" cy="4904426"/>
          </a:xfrm>
        </p:spPr>
        <p:txBody>
          <a:bodyPr/>
          <a:lstStyle>
            <a:lvl1pPr>
              <a:defRPr sz="16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Picture Placeholder 9">
            <a:extLst>
              <a:ext uri="{FF2B5EF4-FFF2-40B4-BE49-F238E27FC236}">
                <a16:creationId xmlns:a16="http://schemas.microsoft.com/office/drawing/2014/main" id="{C346C85E-B752-B646-B91A-FAD68CE22110}"/>
              </a:ext>
            </a:extLst>
          </p:cNvPr>
          <p:cNvSpPr>
            <a:spLocks noGrp="1"/>
          </p:cNvSpPr>
          <p:nvPr>
            <p:ph type="pic" sz="quarter" idx="54"/>
          </p:nvPr>
        </p:nvSpPr>
        <p:spPr>
          <a:xfrm>
            <a:off x="359999" y="1503336"/>
            <a:ext cx="5515200" cy="4903814"/>
          </a:xfrm>
          <a:solidFill>
            <a:schemeClr val="bg1">
              <a:lumMod val="95000"/>
            </a:schemeClr>
          </a:solidFill>
        </p:spPr>
        <p:txBody>
          <a:bodyPr/>
          <a:lstStyle/>
          <a:p>
            <a:r>
              <a:rPr lang="en-US"/>
              <a:t>Click icon to add picture</a:t>
            </a:r>
            <a:endParaRPr lang="en-GB"/>
          </a:p>
        </p:txBody>
      </p:sp>
      <p:sp>
        <p:nvSpPr>
          <p:cNvPr id="12" name="Text Placeholder 10">
            <a:extLst>
              <a:ext uri="{FF2B5EF4-FFF2-40B4-BE49-F238E27FC236}">
                <a16:creationId xmlns:a16="http://schemas.microsoft.com/office/drawing/2014/main" id="{5DDE6D43-D509-A742-A1A6-6B00835A01B3}"/>
              </a:ext>
            </a:extLst>
          </p:cNvPr>
          <p:cNvSpPr>
            <a:spLocks noGrp="1"/>
          </p:cNvSpPr>
          <p:nvPr>
            <p:ph type="body" sz="quarter" idx="55" hasCustomPrompt="1"/>
          </p:nvPr>
        </p:nvSpPr>
        <p:spPr>
          <a:xfrm>
            <a:off x="360364" y="6520402"/>
            <a:ext cx="3603712" cy="124329"/>
          </a:xfrm>
        </p:spPr>
        <p:txBody>
          <a:bodyPr wrap="square">
            <a:spAutoFit/>
          </a:bodyPr>
          <a:lstStyle>
            <a:lvl1pPr>
              <a:defRPr sz="800">
                <a:solidFill>
                  <a:schemeClr val="bg1">
                    <a:lumMod val="85000"/>
                  </a:schemeClr>
                </a:solidFill>
              </a:defRPr>
            </a:lvl1pPr>
          </a:lstStyle>
          <a:p>
            <a:pPr lvl="0"/>
            <a:r>
              <a:rPr lang="en-GB"/>
              <a:t>Label (e.g. for listing sources)</a:t>
            </a:r>
          </a:p>
        </p:txBody>
      </p:sp>
    </p:spTree>
    <p:extLst>
      <p:ext uri="{BB962C8B-B14F-4D97-AF65-F5344CB8AC3E}">
        <p14:creationId xmlns:p14="http://schemas.microsoft.com/office/powerpoint/2010/main" val="10301886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asic – One Column and Picture">
    <p:spTree>
      <p:nvGrpSpPr>
        <p:cNvPr id="1" name=""/>
        <p:cNvGrpSpPr/>
        <p:nvPr/>
      </p:nvGrpSpPr>
      <p:grpSpPr>
        <a:xfrm>
          <a:off x="0" y="0"/>
          <a:ext cx="0" cy="0"/>
          <a:chOff x="0" y="0"/>
          <a:chExt cx="0" cy="0"/>
        </a:xfrm>
      </p:grpSpPr>
      <p:sp>
        <p:nvSpPr>
          <p:cNvPr id="11" name="Picture Placeholder 9">
            <a:extLst>
              <a:ext uri="{FF2B5EF4-FFF2-40B4-BE49-F238E27FC236}">
                <a16:creationId xmlns:a16="http://schemas.microsoft.com/office/drawing/2014/main" id="{EB4430E0-CED5-9549-BF08-715577A90A86}"/>
              </a:ext>
            </a:extLst>
          </p:cNvPr>
          <p:cNvSpPr>
            <a:spLocks noGrp="1"/>
          </p:cNvSpPr>
          <p:nvPr>
            <p:ph type="pic" sz="quarter" idx="54"/>
          </p:nvPr>
        </p:nvSpPr>
        <p:spPr>
          <a:xfrm>
            <a:off x="6390424" y="0"/>
            <a:ext cx="5801576" cy="6857999"/>
          </a:xfrm>
          <a:solidFill>
            <a:schemeClr val="bg1">
              <a:lumMod val="95000"/>
            </a:schemeClr>
          </a:solidFill>
        </p:spPr>
        <p:txBody>
          <a:bodyPr/>
          <a:lstStyle/>
          <a:p>
            <a:r>
              <a:rPr lang="en-US"/>
              <a:t>Click icon to add picture</a:t>
            </a:r>
            <a:endParaRPr lang="en-GB"/>
          </a:p>
        </p:txBody>
      </p:sp>
      <p:sp>
        <p:nvSpPr>
          <p:cNvPr id="2" name="Title 1">
            <a:extLst>
              <a:ext uri="{FF2B5EF4-FFF2-40B4-BE49-F238E27FC236}">
                <a16:creationId xmlns:a16="http://schemas.microsoft.com/office/drawing/2014/main" id="{61945A69-626D-DE47-9B9D-85BFA89EE8E5}"/>
              </a:ext>
            </a:extLst>
          </p:cNvPr>
          <p:cNvSpPr>
            <a:spLocks noGrp="1"/>
          </p:cNvSpPr>
          <p:nvPr>
            <p:ph type="title" hasCustomPrompt="1"/>
          </p:nvPr>
        </p:nvSpPr>
        <p:spPr>
          <a:xfrm>
            <a:off x="359999" y="450000"/>
            <a:ext cx="5736001" cy="332399"/>
          </a:xfrm>
        </p:spPr>
        <p:txBody>
          <a:bodyPr/>
          <a:lstStyle>
            <a:lvl1pPr>
              <a:defRPr>
                <a:solidFill>
                  <a:schemeClr val="accent3"/>
                </a:solidFill>
              </a:defRPr>
            </a:lvl1pPr>
          </a:lstStyle>
          <a:p>
            <a:r>
              <a:rPr lang="en-GB"/>
              <a:t>Insert title here</a:t>
            </a:r>
          </a:p>
        </p:txBody>
      </p:sp>
      <p:pic>
        <p:nvPicPr>
          <p:cNvPr id="4" name="Graphic 3">
            <a:extLst>
              <a:ext uri="{FF2B5EF4-FFF2-40B4-BE49-F238E27FC236}">
                <a16:creationId xmlns:a16="http://schemas.microsoft.com/office/drawing/2014/main" id="{2500454D-C186-4846-88E2-F297E7B57C85}"/>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790000" y="180000"/>
            <a:ext cx="233304" cy="233273"/>
          </a:xfrm>
          <a:prstGeom prst="rect">
            <a:avLst/>
          </a:prstGeom>
        </p:spPr>
      </p:pic>
      <p:sp>
        <p:nvSpPr>
          <p:cNvPr id="5" name="Text Placeholder 3">
            <a:extLst>
              <a:ext uri="{FF2B5EF4-FFF2-40B4-BE49-F238E27FC236}">
                <a16:creationId xmlns:a16="http://schemas.microsoft.com/office/drawing/2014/main" id="{D8EA2D1D-70B6-8E45-941F-EE6A1EAA17A6}"/>
              </a:ext>
            </a:extLst>
          </p:cNvPr>
          <p:cNvSpPr>
            <a:spLocks noGrp="1"/>
          </p:cNvSpPr>
          <p:nvPr>
            <p:ph type="body" sz="quarter" idx="51" hasCustomPrompt="1"/>
          </p:nvPr>
        </p:nvSpPr>
        <p:spPr>
          <a:xfrm>
            <a:off x="359999" y="805903"/>
            <a:ext cx="5736001" cy="279692"/>
          </a:xfrm>
          <a:prstGeom prst="rect">
            <a:avLst/>
          </a:prstGeom>
        </p:spPr>
        <p:txBody>
          <a:bodyPr wrap="square">
            <a:spAutoFit/>
          </a:bodyPr>
          <a:lstStyle>
            <a:lvl1pPr>
              <a:defRPr sz="1800" b="0">
                <a:solidFill>
                  <a:schemeClr val="tx1">
                    <a:lumMod val="75000"/>
                    <a:lumOff val="25000"/>
                  </a:schemeClr>
                </a:solidFill>
                <a:latin typeface="+mn-lt"/>
              </a:defRPr>
            </a:lvl1pPr>
            <a:lvl2pPr>
              <a:defRPr sz="2800">
                <a:latin typeface="Graphik Semibold" panose="020B0703030202060203" pitchFamily="34" charset="0"/>
              </a:defRPr>
            </a:lvl2pPr>
          </a:lstStyle>
          <a:p>
            <a:pPr lvl="0"/>
            <a:r>
              <a:rPr lang="en-US"/>
              <a:t>Insert subtitle here</a:t>
            </a:r>
            <a:endParaRPr lang="en-GB"/>
          </a:p>
        </p:txBody>
      </p:sp>
      <p:sp>
        <p:nvSpPr>
          <p:cNvPr id="12" name="Slide Number Placeholder 2">
            <a:extLst>
              <a:ext uri="{FF2B5EF4-FFF2-40B4-BE49-F238E27FC236}">
                <a16:creationId xmlns:a16="http://schemas.microsoft.com/office/drawing/2014/main" id="{F36118D3-B151-C448-A277-F69E52981050}"/>
              </a:ext>
            </a:extLst>
          </p:cNvPr>
          <p:cNvSpPr>
            <a:spLocks noGrp="1"/>
          </p:cNvSpPr>
          <p:nvPr>
            <p:ph type="sldNum" sz="quarter" idx="10"/>
          </p:nvPr>
        </p:nvSpPr>
        <p:spPr>
          <a:xfrm>
            <a:off x="11596055" y="6520402"/>
            <a:ext cx="235945" cy="123111"/>
          </a:xfrm>
        </p:spPr>
        <p:txBody>
          <a:bodyPr/>
          <a:lstStyle/>
          <a:p>
            <a:fld id="{91AAFA88-51D8-4832-B4D0-D7122A7C4455}" type="slidenum">
              <a:rPr lang="en-SG" smtClean="0"/>
              <a:t>‹#›</a:t>
            </a:fld>
            <a:endParaRPr lang="en-SG"/>
          </a:p>
        </p:txBody>
      </p:sp>
      <p:sp>
        <p:nvSpPr>
          <p:cNvPr id="13" name="Text Placeholder 7">
            <a:extLst>
              <a:ext uri="{FF2B5EF4-FFF2-40B4-BE49-F238E27FC236}">
                <a16:creationId xmlns:a16="http://schemas.microsoft.com/office/drawing/2014/main" id="{2D0D536D-68C6-9A44-8ECB-0DF323F96E08}"/>
              </a:ext>
            </a:extLst>
          </p:cNvPr>
          <p:cNvSpPr>
            <a:spLocks noGrp="1"/>
          </p:cNvSpPr>
          <p:nvPr>
            <p:ph type="body" sz="quarter" idx="52"/>
          </p:nvPr>
        </p:nvSpPr>
        <p:spPr>
          <a:xfrm>
            <a:off x="359999" y="1502612"/>
            <a:ext cx="5736000" cy="4904426"/>
          </a:xfrm>
        </p:spPr>
        <p:txBody>
          <a:bodyPr/>
          <a:lstStyle>
            <a:lvl1pPr>
              <a:defRPr sz="16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0">
            <a:extLst>
              <a:ext uri="{FF2B5EF4-FFF2-40B4-BE49-F238E27FC236}">
                <a16:creationId xmlns:a16="http://schemas.microsoft.com/office/drawing/2014/main" id="{71477DFC-01D2-5E42-859B-D4A1B9939008}"/>
              </a:ext>
            </a:extLst>
          </p:cNvPr>
          <p:cNvSpPr>
            <a:spLocks noGrp="1"/>
          </p:cNvSpPr>
          <p:nvPr>
            <p:ph type="body" sz="quarter" idx="55" hasCustomPrompt="1"/>
          </p:nvPr>
        </p:nvSpPr>
        <p:spPr>
          <a:xfrm>
            <a:off x="360364" y="6520402"/>
            <a:ext cx="3603712" cy="124329"/>
          </a:xfrm>
        </p:spPr>
        <p:txBody>
          <a:bodyPr wrap="square">
            <a:spAutoFit/>
          </a:bodyPr>
          <a:lstStyle>
            <a:lvl1pPr>
              <a:defRPr sz="800">
                <a:solidFill>
                  <a:schemeClr val="bg1">
                    <a:lumMod val="85000"/>
                  </a:schemeClr>
                </a:solidFill>
              </a:defRPr>
            </a:lvl1pPr>
          </a:lstStyle>
          <a:p>
            <a:pPr lvl="0"/>
            <a:r>
              <a:rPr lang="en-GB"/>
              <a:t>Label (e.g. for listing sources)</a:t>
            </a:r>
          </a:p>
        </p:txBody>
      </p:sp>
    </p:spTree>
    <p:extLst>
      <p:ext uri="{BB962C8B-B14F-4D97-AF65-F5344CB8AC3E}">
        <p14:creationId xmlns:p14="http://schemas.microsoft.com/office/powerpoint/2010/main" val="6686254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AF87F5B-ED41-4BEF-B880-68E9FA86B81A}"/>
              </a:ext>
            </a:extLst>
          </p:cNvPr>
          <p:cNvGraphicFramePr>
            <a:graphicFrameLocks noChangeAspect="1"/>
          </p:cNvGraphicFramePr>
          <p:nvPr userDrawn="1">
            <p:custDataLst>
              <p:tags r:id="rId24"/>
            </p:custDataLst>
            <p:extLst>
              <p:ext uri="{D42A27DB-BD31-4B8C-83A1-F6EECF244321}">
                <p14:modId xmlns:p14="http://schemas.microsoft.com/office/powerpoint/2010/main" val="529150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42" imgH="442" progId="TCLayout.ActiveDocument.1">
                  <p:embed/>
                </p:oleObj>
              </mc:Choice>
              <mc:Fallback>
                <p:oleObj name="think-cell Slide" r:id="rId25" imgW="442" imgH="442" progId="TCLayout.ActiveDocument.1">
                  <p:embed/>
                  <p:pic>
                    <p:nvPicPr>
                      <p:cNvPr id="5" name="Object 4" hidden="1">
                        <a:extLst>
                          <a:ext uri="{FF2B5EF4-FFF2-40B4-BE49-F238E27FC236}">
                            <a16:creationId xmlns:a16="http://schemas.microsoft.com/office/drawing/2014/main" id="{FAF87F5B-ED41-4BEF-B880-68E9FA86B81A}"/>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B6398B6-6443-4D67-A365-3AF9C47C4716}"/>
              </a:ext>
            </a:extLst>
          </p:cNvPr>
          <p:cNvSpPr>
            <a:spLocks noGrp="1"/>
          </p:cNvSpPr>
          <p:nvPr>
            <p:ph type="title"/>
          </p:nvPr>
        </p:nvSpPr>
        <p:spPr>
          <a:xfrm>
            <a:off x="359999" y="450000"/>
            <a:ext cx="11160000" cy="332399"/>
          </a:xfrm>
          <a:prstGeom prst="rect">
            <a:avLst/>
          </a:prstGeom>
        </p:spPr>
        <p:txBody>
          <a:bodyPr vert="horz" wrap="square" lIns="0" tIns="0" rIns="0" bIns="0" rtlCol="0" anchor="t" anchorCtr="0">
            <a:sp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8EFFFA29-D1E3-47B0-8A22-1D402B88F90E}"/>
              </a:ext>
            </a:extLst>
          </p:cNvPr>
          <p:cNvSpPr>
            <a:spLocks noGrp="1"/>
          </p:cNvSpPr>
          <p:nvPr>
            <p:ph type="body" idx="1"/>
          </p:nvPr>
        </p:nvSpPr>
        <p:spPr>
          <a:xfrm>
            <a:off x="374360" y="994410"/>
            <a:ext cx="11457640" cy="532012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1" name="Slide Number Placeholder 40">
            <a:extLst>
              <a:ext uri="{FF2B5EF4-FFF2-40B4-BE49-F238E27FC236}">
                <a16:creationId xmlns:a16="http://schemas.microsoft.com/office/drawing/2014/main" id="{655D4237-A081-4F4B-BD2C-FD71F14FFBFB}"/>
              </a:ext>
            </a:extLst>
          </p:cNvPr>
          <p:cNvSpPr>
            <a:spLocks noGrp="1"/>
          </p:cNvSpPr>
          <p:nvPr>
            <p:ph type="sldNum" sz="quarter" idx="4"/>
          </p:nvPr>
        </p:nvSpPr>
        <p:spPr>
          <a:xfrm>
            <a:off x="11596055" y="6520402"/>
            <a:ext cx="235945" cy="123111"/>
          </a:xfrm>
          <a:prstGeom prst="rect">
            <a:avLst/>
          </a:prstGeom>
        </p:spPr>
        <p:txBody>
          <a:bodyPr vert="horz" lIns="0" tIns="0" rIns="0" bIns="0" rtlCol="0" anchor="b">
            <a:spAutoFit/>
          </a:bodyPr>
          <a:lstStyle>
            <a:lvl1pPr algn="r">
              <a:defRPr sz="800">
                <a:solidFill>
                  <a:schemeClr val="tx1">
                    <a:alpha val="50000"/>
                  </a:schemeClr>
                </a:solidFill>
              </a:defRPr>
            </a:lvl1pPr>
          </a:lstStyle>
          <a:p>
            <a:fld id="{91AAFA88-51D8-4832-B4D0-D7122A7C4455}" type="slidenum">
              <a:rPr lang="en-SG" smtClean="0"/>
              <a:t>‹#›</a:t>
            </a:fld>
            <a:endParaRPr lang="en-SG"/>
          </a:p>
        </p:txBody>
      </p:sp>
    </p:spTree>
    <p:extLst>
      <p:ext uri="{BB962C8B-B14F-4D97-AF65-F5344CB8AC3E}">
        <p14:creationId xmlns:p14="http://schemas.microsoft.com/office/powerpoint/2010/main" val="1529186326"/>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 id="2147483700" r:id="rId19"/>
    <p:sldLayoutId id="2147483701" r:id="rId20"/>
    <p:sldLayoutId id="2147483702" r:id="rId21"/>
    <p:sldLayoutId id="2147483704" r:id="rId22"/>
  </p:sldLayoutIdLst>
  <p:txStyles>
    <p:titleStyle>
      <a:lvl1pPr algn="l" defTabSz="914400" rtl="0" eaLnBrk="1" latinLnBrk="0" hangingPunct="1">
        <a:lnSpc>
          <a:spcPct val="90000"/>
        </a:lnSpc>
        <a:spcBef>
          <a:spcPct val="0"/>
        </a:spcBef>
        <a:buNone/>
        <a:defRPr sz="2400" b="1" kern="1200">
          <a:solidFill>
            <a:schemeClr val="accent3"/>
          </a:solidFill>
          <a:latin typeface="+mj-lt"/>
          <a:ea typeface="+mj-ea"/>
          <a:cs typeface="+mj-cs"/>
        </a:defRPr>
      </a:lvl1pPr>
    </p:titleStyle>
    <p:bodyStyle>
      <a:lvl1pPr marL="0" indent="0" algn="l" defTabSz="914400" rtl="0" eaLnBrk="1" latinLnBrk="0" hangingPunct="1">
        <a:lnSpc>
          <a:spcPct val="110000"/>
        </a:lnSpc>
        <a:spcBef>
          <a:spcPts val="400"/>
        </a:spcBef>
        <a:spcAft>
          <a:spcPts val="400"/>
        </a:spcAft>
        <a:buFont typeface="Arial" panose="020B0604020202020204" pitchFamily="34" charset="0"/>
        <a:buNone/>
        <a:defRPr sz="1800" b="0" kern="1200">
          <a:solidFill>
            <a:schemeClr val="tx1">
              <a:lumMod val="75000"/>
              <a:lumOff val="25000"/>
            </a:schemeClr>
          </a:solidFill>
          <a:latin typeface="Century Gothic" panose="020B0502020202020204" pitchFamily="34" charset="0"/>
          <a:ea typeface="+mn-ea"/>
          <a:cs typeface="+mn-cs"/>
        </a:defRPr>
      </a:lvl1pPr>
      <a:lvl2pPr marL="0" indent="0" algn="l" defTabSz="914400" rtl="0" eaLnBrk="1" latinLnBrk="0" hangingPunct="1">
        <a:lnSpc>
          <a:spcPct val="110000"/>
        </a:lnSpc>
        <a:spcBef>
          <a:spcPts val="400"/>
        </a:spcBef>
        <a:spcAft>
          <a:spcPts val="400"/>
        </a:spcAft>
        <a:buFont typeface="Arial" panose="020B0604020202020204" pitchFamily="34" charset="0"/>
        <a:buNone/>
        <a:defRPr sz="1800" kern="1200">
          <a:solidFill>
            <a:schemeClr val="tx1">
              <a:lumMod val="75000"/>
              <a:lumOff val="25000"/>
            </a:schemeClr>
          </a:solidFill>
          <a:latin typeface="Century Gothic" panose="020B0502020202020204" pitchFamily="34" charset="0"/>
          <a:ea typeface="+mn-ea"/>
          <a:cs typeface="+mn-cs"/>
        </a:defRPr>
      </a:lvl2pPr>
      <a:lvl3pPr marL="180000" indent="-180000" algn="l" defTabSz="914400" rtl="0" eaLnBrk="1" latinLnBrk="0" hangingPunct="1">
        <a:lnSpc>
          <a:spcPct val="110000"/>
        </a:lnSpc>
        <a:spcBef>
          <a:spcPts val="400"/>
        </a:spcBef>
        <a:spcAft>
          <a:spcPts val="400"/>
        </a:spcAft>
        <a:buFont typeface="Arial" panose="020B0604020202020204" pitchFamily="34" charset="0"/>
        <a:buChar char="•"/>
        <a:defRPr sz="1800" kern="1200">
          <a:solidFill>
            <a:schemeClr val="tx1">
              <a:lumMod val="75000"/>
              <a:lumOff val="25000"/>
            </a:schemeClr>
          </a:solidFill>
          <a:latin typeface="Century Gothic" panose="020B0502020202020204" pitchFamily="34" charset="0"/>
          <a:ea typeface="+mn-ea"/>
          <a:cs typeface="+mn-cs"/>
        </a:defRPr>
      </a:lvl3pPr>
      <a:lvl4pPr marL="360000" indent="-180000" algn="l" defTabSz="914400" rtl="0" eaLnBrk="1" latinLnBrk="0" hangingPunct="1">
        <a:lnSpc>
          <a:spcPct val="110000"/>
        </a:lnSpc>
        <a:spcBef>
          <a:spcPts val="400"/>
        </a:spcBef>
        <a:spcAft>
          <a:spcPts val="400"/>
        </a:spcAft>
        <a:buFont typeface="Arial" panose="020B0604020202020204" pitchFamily="34" charset="0"/>
        <a:buChar char="–"/>
        <a:defRPr sz="1600" kern="1200">
          <a:solidFill>
            <a:schemeClr val="tx1">
              <a:lumMod val="75000"/>
              <a:lumOff val="25000"/>
            </a:schemeClr>
          </a:solidFill>
          <a:latin typeface="Century Gothic" panose="020B0502020202020204" pitchFamily="34" charset="0"/>
          <a:ea typeface="+mn-ea"/>
          <a:cs typeface="+mn-cs"/>
        </a:defRPr>
      </a:lvl4pPr>
      <a:lvl5pPr marL="543600" indent="-180000" algn="l" defTabSz="914400" rtl="0" eaLnBrk="1" latinLnBrk="0" hangingPunct="1">
        <a:lnSpc>
          <a:spcPct val="110000"/>
        </a:lnSpc>
        <a:spcBef>
          <a:spcPts val="400"/>
        </a:spcBef>
        <a:spcAft>
          <a:spcPts val="400"/>
        </a:spcAft>
        <a:buFont typeface="Arial" panose="020B0604020202020204" pitchFamily="34" charset="0"/>
        <a:buChar char="•"/>
        <a:defRPr sz="1600" kern="1200">
          <a:solidFill>
            <a:schemeClr val="tx1">
              <a:lumMod val="75000"/>
              <a:lumOff val="25000"/>
            </a:schemeClr>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95">
          <p15:clr>
            <a:srgbClr val="F26B43"/>
          </p15:clr>
        </p15:guide>
        <p15:guide id="2" pos="166">
          <p15:clr>
            <a:srgbClr val="F26B43"/>
          </p15:clr>
        </p15:guide>
        <p15:guide id="3" pos="950">
          <p15:clr>
            <a:srgbClr val="F26B43"/>
          </p15:clr>
        </p15:guide>
        <p15:guide id="4" pos="1165">
          <p15:clr>
            <a:srgbClr val="F26B43"/>
          </p15:clr>
        </p15:guide>
        <p15:guide id="5" pos="1877">
          <p15:clr>
            <a:srgbClr val="F26B43"/>
          </p15:clr>
        </p15:guide>
        <p15:guide id="6" pos="2093">
          <p15:clr>
            <a:srgbClr val="F26B43"/>
          </p15:clr>
        </p15:guide>
        <p15:guide id="7" pos="2805">
          <p15:clr>
            <a:srgbClr val="F26B43"/>
          </p15:clr>
        </p15:guide>
        <p15:guide id="8" pos="3020">
          <p15:clr>
            <a:srgbClr val="F26B43"/>
          </p15:clr>
        </p15:guide>
        <p15:guide id="9" pos="3731">
          <p15:clr>
            <a:srgbClr val="F26B43"/>
          </p15:clr>
        </p15:guide>
        <p15:guide id="10" pos="3946">
          <p15:clr>
            <a:srgbClr val="F26B43"/>
          </p15:clr>
        </p15:guide>
        <p15:guide id="11" pos="4659">
          <p15:clr>
            <a:srgbClr val="F26B43"/>
          </p15:clr>
        </p15:guide>
        <p15:guide id="12" pos="4873">
          <p15:clr>
            <a:srgbClr val="F26B43"/>
          </p15:clr>
        </p15:guide>
        <p15:guide id="13" pos="5585">
          <p15:clr>
            <a:srgbClr val="F26B43"/>
          </p15:clr>
        </p15:guide>
        <p15:guide id="14" pos="5800">
          <p15:clr>
            <a:srgbClr val="F26B43"/>
          </p15:clr>
        </p15:guide>
        <p15:guide id="15" pos="6512">
          <p15:clr>
            <a:srgbClr val="F26B43"/>
          </p15:clr>
        </p15:guide>
        <p15:guide id="16" pos="6727">
          <p15:clr>
            <a:srgbClr val="F26B43"/>
          </p15:clr>
        </p15:guide>
        <p15:guide id="17" pos="7514">
          <p15:clr>
            <a:srgbClr val="F26B43"/>
          </p15:clr>
        </p15:guide>
        <p15:guide id="18" orient="horz" pos="4156">
          <p15:clr>
            <a:srgbClr val="F26B43"/>
          </p15:clr>
        </p15:guide>
        <p15:guide id="19" orient="horz" pos="3815">
          <p15:clr>
            <a:srgbClr val="F26B43"/>
          </p15:clr>
        </p15:guide>
        <p15:guide id="20" orient="horz" pos="2614">
          <p15:clr>
            <a:srgbClr val="F26B43"/>
          </p15:clr>
        </p15:guide>
        <p15:guide id="21" orient="horz" pos="1152">
          <p15:clr>
            <a:srgbClr val="F26B43"/>
          </p15:clr>
        </p15:guide>
        <p15:guide id="22" orient="horz" pos="164">
          <p15:clr>
            <a:srgbClr val="F26B43"/>
          </p15:clr>
        </p15:guide>
        <p15:guide id="23" pos="480">
          <p15:clr>
            <a:srgbClr val="5ACBF0"/>
          </p15:clr>
        </p15:guide>
        <p15:guide id="24" orient="horz" pos="480">
          <p15:clr>
            <a:srgbClr val="5ACBF0"/>
          </p15:clr>
        </p15:guide>
        <p15:guide id="25" pos="7198">
          <p15:clr>
            <a:srgbClr val="5ACBF0"/>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emf"/><Relationship Id="rId2" Type="http://schemas.openxmlformats.org/officeDocument/2006/relationships/image" Target="../media/image13.jpeg"/><Relationship Id="rId1" Type="http://schemas.openxmlformats.org/officeDocument/2006/relationships/slideLayout" Target="../slideLayouts/slideLayout1.xml"/><Relationship Id="rId6" Type="http://schemas.openxmlformats.org/officeDocument/2006/relationships/image" Target="../media/image17.emf"/><Relationship Id="rId5" Type="http://schemas.openxmlformats.org/officeDocument/2006/relationships/image" Target="../media/image16.emf"/><Relationship Id="rId4" Type="http://schemas.openxmlformats.org/officeDocument/2006/relationships/image" Target="../media/image15.emf"/><Relationship Id="rId9" Type="http://schemas.openxmlformats.org/officeDocument/2006/relationships/image" Target="../media/image20.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70.png"/><Relationship Id="rId4" Type="http://schemas.openxmlformats.org/officeDocument/2006/relationships/image" Target="../media/image69.png"/></Relationships>
</file>

<file path=ppt/slides/_rels/slide12.xml.rels><?xml version="1.0" encoding="UTF-8" standalone="yes"?>
<Relationships xmlns="http://schemas.openxmlformats.org/package/2006/relationships"><Relationship Id="rId8" Type="http://schemas.openxmlformats.org/officeDocument/2006/relationships/image" Target="../media/image75.emf"/><Relationship Id="rId13" Type="http://schemas.openxmlformats.org/officeDocument/2006/relationships/image" Target="../media/image80.emf"/><Relationship Id="rId18" Type="http://schemas.openxmlformats.org/officeDocument/2006/relationships/image" Target="../media/image85.emf"/><Relationship Id="rId3" Type="http://schemas.openxmlformats.org/officeDocument/2006/relationships/image" Target="../media/image7.png"/><Relationship Id="rId7" Type="http://schemas.openxmlformats.org/officeDocument/2006/relationships/image" Target="../media/image74.emf"/><Relationship Id="rId12" Type="http://schemas.openxmlformats.org/officeDocument/2006/relationships/image" Target="../media/image79.emf"/><Relationship Id="rId17" Type="http://schemas.openxmlformats.org/officeDocument/2006/relationships/image" Target="../media/image84.emf"/><Relationship Id="rId2" Type="http://schemas.openxmlformats.org/officeDocument/2006/relationships/image" Target="../media/image71.jpeg"/><Relationship Id="rId16" Type="http://schemas.openxmlformats.org/officeDocument/2006/relationships/image" Target="../media/image83.emf"/><Relationship Id="rId1" Type="http://schemas.openxmlformats.org/officeDocument/2006/relationships/slideLayout" Target="../slideLayouts/slideLayout3.xml"/><Relationship Id="rId6" Type="http://schemas.openxmlformats.org/officeDocument/2006/relationships/image" Target="../media/image73.emf"/><Relationship Id="rId11" Type="http://schemas.openxmlformats.org/officeDocument/2006/relationships/image" Target="../media/image78.emf"/><Relationship Id="rId5" Type="http://schemas.openxmlformats.org/officeDocument/2006/relationships/image" Target="../media/image72.emf"/><Relationship Id="rId15" Type="http://schemas.openxmlformats.org/officeDocument/2006/relationships/image" Target="../media/image82.emf"/><Relationship Id="rId10" Type="http://schemas.openxmlformats.org/officeDocument/2006/relationships/image" Target="../media/image77.emf"/><Relationship Id="rId4" Type="http://schemas.openxmlformats.org/officeDocument/2006/relationships/image" Target="../media/image8.svg"/><Relationship Id="rId9" Type="http://schemas.openxmlformats.org/officeDocument/2006/relationships/image" Target="../media/image76.emf"/><Relationship Id="rId14" Type="http://schemas.openxmlformats.org/officeDocument/2006/relationships/image" Target="../media/image81.emf"/></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89.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88.png"/><Relationship Id="rId5" Type="http://schemas.openxmlformats.org/officeDocument/2006/relationships/image" Target="../media/image87.jpeg"/><Relationship Id="rId4" Type="http://schemas.openxmlformats.org/officeDocument/2006/relationships/image" Target="../media/image86.jpe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oleObject" Target="../embeddings/oleObject2.bin"/><Relationship Id="rId7" Type="http://schemas.openxmlformats.org/officeDocument/2006/relationships/image" Target="../media/image16.emf"/><Relationship Id="rId2" Type="http://schemas.openxmlformats.org/officeDocument/2006/relationships/slideLayout" Target="../slideLayouts/slideLayout22.xml"/><Relationship Id="rId1" Type="http://schemas.openxmlformats.org/officeDocument/2006/relationships/tags" Target="../tags/tag3.xml"/><Relationship Id="rId6" Type="http://schemas.openxmlformats.org/officeDocument/2006/relationships/image" Target="../media/image15.emf"/><Relationship Id="rId11" Type="http://schemas.openxmlformats.org/officeDocument/2006/relationships/image" Target="../media/image8.svg"/><Relationship Id="rId5" Type="http://schemas.openxmlformats.org/officeDocument/2006/relationships/image" Target="../media/image22.jpeg"/><Relationship Id="rId10" Type="http://schemas.openxmlformats.org/officeDocument/2006/relationships/image" Target="../media/image23.png"/><Relationship Id="rId4" Type="http://schemas.openxmlformats.org/officeDocument/2006/relationships/image" Target="../media/image21.emf"/><Relationship Id="rId9" Type="http://schemas.openxmlformats.org/officeDocument/2006/relationships/image" Target="../media/image18.emf"/></Relationships>
</file>

<file path=ppt/slides/_rels/slide3.xml.rels><?xml version="1.0" encoding="UTF-8" standalone="yes"?>
<Relationships xmlns="http://schemas.openxmlformats.org/package/2006/relationships"><Relationship Id="rId8" Type="http://schemas.openxmlformats.org/officeDocument/2006/relationships/image" Target="../media/image28.svg"/><Relationship Id="rId13" Type="http://schemas.openxmlformats.org/officeDocument/2006/relationships/image" Target="../media/image33.png"/><Relationship Id="rId18" Type="http://schemas.openxmlformats.org/officeDocument/2006/relationships/image" Target="../media/image38.svg"/><Relationship Id="rId3" Type="http://schemas.openxmlformats.org/officeDocument/2006/relationships/oleObject" Target="../embeddings/oleObject3.bin"/><Relationship Id="rId21" Type="http://schemas.openxmlformats.org/officeDocument/2006/relationships/image" Target="../media/image41.png"/><Relationship Id="rId7" Type="http://schemas.openxmlformats.org/officeDocument/2006/relationships/image" Target="../media/image27.png"/><Relationship Id="rId12" Type="http://schemas.openxmlformats.org/officeDocument/2006/relationships/image" Target="../media/image32.svg"/><Relationship Id="rId17" Type="http://schemas.openxmlformats.org/officeDocument/2006/relationships/image" Target="../media/image37.png"/><Relationship Id="rId2" Type="http://schemas.openxmlformats.org/officeDocument/2006/relationships/slideLayout" Target="../slideLayouts/slideLayout2.xml"/><Relationship Id="rId16" Type="http://schemas.openxmlformats.org/officeDocument/2006/relationships/image" Target="../media/image36.svg"/><Relationship Id="rId20" Type="http://schemas.openxmlformats.org/officeDocument/2006/relationships/image" Target="../media/image40.svg"/><Relationship Id="rId1" Type="http://schemas.openxmlformats.org/officeDocument/2006/relationships/tags" Target="../tags/tag4.xml"/><Relationship Id="rId6" Type="http://schemas.openxmlformats.org/officeDocument/2006/relationships/image" Target="../media/image26.svg"/><Relationship Id="rId11" Type="http://schemas.openxmlformats.org/officeDocument/2006/relationships/image" Target="../media/image31.png"/><Relationship Id="rId5" Type="http://schemas.openxmlformats.org/officeDocument/2006/relationships/image" Target="../media/image25.png"/><Relationship Id="rId15" Type="http://schemas.openxmlformats.org/officeDocument/2006/relationships/image" Target="../media/image35.png"/><Relationship Id="rId10" Type="http://schemas.openxmlformats.org/officeDocument/2006/relationships/image" Target="../media/image30.svg"/><Relationship Id="rId19" Type="http://schemas.openxmlformats.org/officeDocument/2006/relationships/image" Target="../media/image39.png"/><Relationship Id="rId4" Type="http://schemas.openxmlformats.org/officeDocument/2006/relationships/image" Target="../media/image24.emf"/><Relationship Id="rId9" Type="http://schemas.openxmlformats.org/officeDocument/2006/relationships/image" Target="../media/image29.png"/><Relationship Id="rId14" Type="http://schemas.openxmlformats.org/officeDocument/2006/relationships/image" Target="../media/image34.svg"/><Relationship Id="rId22" Type="http://schemas.openxmlformats.org/officeDocument/2006/relationships/image" Target="../media/image42.svg"/></Relationships>
</file>

<file path=ppt/slides/_rels/slide4.xml.rels><?xml version="1.0" encoding="UTF-8" standalone="yes"?>
<Relationships xmlns="http://schemas.openxmlformats.org/package/2006/relationships"><Relationship Id="rId8" Type="http://schemas.openxmlformats.org/officeDocument/2006/relationships/image" Target="../media/image46.svg"/><Relationship Id="rId13" Type="http://schemas.openxmlformats.org/officeDocument/2006/relationships/image" Target="../media/image51.png"/><Relationship Id="rId18" Type="http://schemas.openxmlformats.org/officeDocument/2006/relationships/diagramColors" Target="../diagrams/colors1.xml"/><Relationship Id="rId3" Type="http://schemas.openxmlformats.org/officeDocument/2006/relationships/oleObject" Target="../embeddings/oleObject3.bin"/><Relationship Id="rId7" Type="http://schemas.openxmlformats.org/officeDocument/2006/relationships/image" Target="../media/image45.png"/><Relationship Id="rId12" Type="http://schemas.openxmlformats.org/officeDocument/2006/relationships/image" Target="../media/image50.svg"/><Relationship Id="rId17" Type="http://schemas.openxmlformats.org/officeDocument/2006/relationships/diagramQuickStyle" Target="../diagrams/quickStyle1.xml"/><Relationship Id="rId2" Type="http://schemas.openxmlformats.org/officeDocument/2006/relationships/slideLayout" Target="../slideLayouts/slideLayout2.xml"/><Relationship Id="rId16" Type="http://schemas.openxmlformats.org/officeDocument/2006/relationships/diagramLayout" Target="../diagrams/layout1.xml"/><Relationship Id="rId1" Type="http://schemas.openxmlformats.org/officeDocument/2006/relationships/tags" Target="../tags/tag5.xml"/><Relationship Id="rId6" Type="http://schemas.openxmlformats.org/officeDocument/2006/relationships/image" Target="../media/image44.svg"/><Relationship Id="rId11" Type="http://schemas.openxmlformats.org/officeDocument/2006/relationships/image" Target="../media/image49.png"/><Relationship Id="rId5" Type="http://schemas.openxmlformats.org/officeDocument/2006/relationships/image" Target="../media/image43.png"/><Relationship Id="rId15" Type="http://schemas.openxmlformats.org/officeDocument/2006/relationships/diagramData" Target="../diagrams/data1.xml"/><Relationship Id="rId10" Type="http://schemas.openxmlformats.org/officeDocument/2006/relationships/image" Target="../media/image48.svg"/><Relationship Id="rId19" Type="http://schemas.microsoft.com/office/2007/relationships/diagramDrawing" Target="../diagrams/drawing1.xml"/><Relationship Id="rId4" Type="http://schemas.openxmlformats.org/officeDocument/2006/relationships/image" Target="../media/image24.emf"/><Relationship Id="rId9" Type="http://schemas.openxmlformats.org/officeDocument/2006/relationships/image" Target="../media/image47.png"/><Relationship Id="rId14" Type="http://schemas.openxmlformats.org/officeDocument/2006/relationships/image" Target="../media/image52.svg"/></Relationships>
</file>

<file path=ppt/slides/_rels/slide5.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hyperlink" Target="https://www.globalengineering.info/reforestation-project/" TargetMode="External"/><Relationship Id="rId1" Type="http://schemas.openxmlformats.org/officeDocument/2006/relationships/slideLayout" Target="../slideLayouts/slideLayout3.xml"/><Relationship Id="rId6" Type="http://schemas.openxmlformats.org/officeDocument/2006/relationships/image" Target="../media/image56.jpeg"/><Relationship Id="rId5" Type="http://schemas.openxmlformats.org/officeDocument/2006/relationships/image" Target="../media/image55.jpeg"/><Relationship Id="rId4" Type="http://schemas.openxmlformats.org/officeDocument/2006/relationships/image" Target="../media/image54.jpe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58.png"/><Relationship Id="rId5" Type="http://schemas.openxmlformats.org/officeDocument/2006/relationships/image" Target="../media/image57.emf"/><Relationship Id="rId4" Type="http://schemas.openxmlformats.org/officeDocument/2006/relationships/image" Target="../media/image24.emf"/></Relationships>
</file>

<file path=ppt/slides/_rels/slide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hyperlink" Target="https://www.globalengineering.info/reforestation-project/" TargetMode="External"/><Relationship Id="rId7" Type="http://schemas.openxmlformats.org/officeDocument/2006/relationships/image" Target="../media/image63.png"/><Relationship Id="rId2" Type="http://schemas.openxmlformats.org/officeDocument/2006/relationships/slideLayout" Target="../slideLayouts/slideLayout3.xml"/><Relationship Id="rId1" Type="http://schemas.openxmlformats.org/officeDocument/2006/relationships/tags" Target="../tags/tag7.xml"/><Relationship Id="rId6" Type="http://schemas.openxmlformats.org/officeDocument/2006/relationships/image" Target="../media/image62.png"/><Relationship Id="rId5" Type="http://schemas.openxmlformats.org/officeDocument/2006/relationships/image" Target="../media/image61.svg"/><Relationship Id="rId10" Type="http://schemas.openxmlformats.org/officeDocument/2006/relationships/image" Target="../media/image66.png"/><Relationship Id="rId4" Type="http://schemas.openxmlformats.org/officeDocument/2006/relationships/image" Target="../media/image60.png"/><Relationship Id="rId9" Type="http://schemas.openxmlformats.org/officeDocument/2006/relationships/image" Target="../media/image65.png"/></Relationships>
</file>

<file path=ppt/slides/_rels/slide9.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4" descr="A picture containing tree, outdoor, sky, nature&#10;&#10;Description automatically generated">
            <a:extLst>
              <a:ext uri="{FF2B5EF4-FFF2-40B4-BE49-F238E27FC236}">
                <a16:creationId xmlns:a16="http://schemas.microsoft.com/office/drawing/2014/main" id="{5879316C-C84C-AE4F-9832-D121E6CE345F}"/>
              </a:ext>
            </a:extLst>
          </p:cNvPr>
          <p:cNvPicPr>
            <a:picLocks noGrp="1" noChangeAspect="1"/>
          </p:cNvPicPr>
          <p:nvPr>
            <p:ph type="pic" sz="quarter" idx="4294967295"/>
          </p:nvPr>
        </p:nvPicPr>
        <p:blipFill>
          <a:blip r:embed="rId2">
            <a:extLst>
              <a:ext uri="{28A0092B-C50C-407E-A947-70E740481C1C}">
                <a14:useLocalDpi xmlns:a14="http://schemas.microsoft.com/office/drawing/2010/main" val="0"/>
              </a:ext>
            </a:extLst>
          </a:blip>
          <a:srcRect l="44" r="44"/>
          <a:stretch>
            <a:fillRect/>
          </a:stretch>
        </p:blipFill>
        <p:spPr>
          <a:xfrm>
            <a:off x="0" y="0"/>
            <a:ext cx="12192000" cy="6858000"/>
          </a:xfrm>
        </p:spPr>
      </p:pic>
      <p:sp>
        <p:nvSpPr>
          <p:cNvPr id="16" name="Rectangle 15">
            <a:extLst>
              <a:ext uri="{FF2B5EF4-FFF2-40B4-BE49-F238E27FC236}">
                <a16:creationId xmlns:a16="http://schemas.microsoft.com/office/drawing/2014/main" id="{6D12F7E0-9CF9-B347-A5AF-B41B199A29D5}"/>
              </a:ext>
            </a:extLst>
          </p:cNvPr>
          <p:cNvSpPr/>
          <p:nvPr/>
        </p:nvSpPr>
        <p:spPr>
          <a:xfrm>
            <a:off x="0" y="0"/>
            <a:ext cx="12192000" cy="6857999"/>
          </a:xfrm>
          <a:prstGeom prst="rect">
            <a:avLst/>
          </a:prstGeom>
          <a:gradFill>
            <a:gsLst>
              <a:gs pos="30000">
                <a:schemeClr val="tx1">
                  <a:alpha val="37616"/>
                </a:schemeClr>
              </a:gs>
              <a:gs pos="87000">
                <a:schemeClr val="tx1">
                  <a:alpha val="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1867" kern="0">
              <a:solidFill>
                <a:srgbClr val="FBFCFC"/>
              </a:solidFill>
              <a:latin typeface="Century Gothic" panose="020F0302020204030204"/>
              <a:sym typeface="Arial"/>
            </a:endParaRPr>
          </a:p>
        </p:txBody>
      </p:sp>
      <p:sp>
        <p:nvSpPr>
          <p:cNvPr id="3" name="Text Placeholder 2">
            <a:extLst>
              <a:ext uri="{FF2B5EF4-FFF2-40B4-BE49-F238E27FC236}">
                <a16:creationId xmlns:a16="http://schemas.microsoft.com/office/drawing/2014/main" id="{75C0981B-8FC3-5D47-8A07-38BB68272DEA}"/>
              </a:ext>
            </a:extLst>
          </p:cNvPr>
          <p:cNvSpPr>
            <a:spLocks noGrp="1"/>
          </p:cNvSpPr>
          <p:nvPr>
            <p:ph type="body" sz="quarter" idx="15"/>
          </p:nvPr>
        </p:nvSpPr>
        <p:spPr>
          <a:xfrm>
            <a:off x="720141" y="2755849"/>
            <a:ext cx="9189172" cy="650627"/>
          </a:xfrm>
        </p:spPr>
        <p:txBody>
          <a:bodyPr/>
          <a:lstStyle/>
          <a:p>
            <a:r>
              <a:rPr lang="en-GB" dirty="0"/>
              <a:t>Introduction to the carbon markets</a:t>
            </a:r>
          </a:p>
        </p:txBody>
      </p:sp>
      <p:sp>
        <p:nvSpPr>
          <p:cNvPr id="4" name="Text Placeholder 3">
            <a:extLst>
              <a:ext uri="{FF2B5EF4-FFF2-40B4-BE49-F238E27FC236}">
                <a16:creationId xmlns:a16="http://schemas.microsoft.com/office/drawing/2014/main" id="{70332F8D-D02E-B843-A94D-54EDF7914B0C}"/>
              </a:ext>
            </a:extLst>
          </p:cNvPr>
          <p:cNvSpPr>
            <a:spLocks noGrp="1"/>
          </p:cNvSpPr>
          <p:nvPr>
            <p:ph type="body" sz="quarter" idx="16"/>
          </p:nvPr>
        </p:nvSpPr>
        <p:spPr/>
        <p:txBody>
          <a:bodyPr/>
          <a:lstStyle/>
          <a:p>
            <a:r>
              <a:rPr lang="en-GB" dirty="0"/>
              <a:t>Tuesday, 26 July 2022</a:t>
            </a:r>
          </a:p>
        </p:txBody>
      </p:sp>
      <p:pic>
        <p:nvPicPr>
          <p:cNvPr id="17" name="Picture 16" descr="A picture containing graphical user interface&#10;&#10;Description automatically generated">
            <a:extLst>
              <a:ext uri="{FF2B5EF4-FFF2-40B4-BE49-F238E27FC236}">
                <a16:creationId xmlns:a16="http://schemas.microsoft.com/office/drawing/2014/main" id="{3B989055-1558-1545-B4EA-3F6D003EFB69}"/>
              </a:ext>
            </a:extLst>
          </p:cNvPr>
          <p:cNvPicPr>
            <a:picLocks noChangeAspect="1"/>
          </p:cNvPicPr>
          <p:nvPr/>
        </p:nvPicPr>
        <p:blipFill>
          <a:blip r:embed="rId3"/>
          <a:stretch>
            <a:fillRect/>
          </a:stretch>
        </p:blipFill>
        <p:spPr>
          <a:xfrm>
            <a:off x="720141" y="612527"/>
            <a:ext cx="2234018" cy="739460"/>
          </a:xfrm>
          <a:prstGeom prst="rect">
            <a:avLst/>
          </a:prstGeom>
        </p:spPr>
      </p:pic>
      <p:sp>
        <p:nvSpPr>
          <p:cNvPr id="25" name="Slide Number Placeholder 1">
            <a:extLst>
              <a:ext uri="{FF2B5EF4-FFF2-40B4-BE49-F238E27FC236}">
                <a16:creationId xmlns:a16="http://schemas.microsoft.com/office/drawing/2014/main" id="{5C976571-1BEE-FE73-EB32-6D4B08B725B7}"/>
              </a:ext>
            </a:extLst>
          </p:cNvPr>
          <p:cNvSpPr txBox="1">
            <a:spLocks/>
          </p:cNvSpPr>
          <p:nvPr/>
        </p:nvSpPr>
        <p:spPr>
          <a:xfrm>
            <a:off x="11957050" y="6519863"/>
            <a:ext cx="234950" cy="123825"/>
          </a:xfrm>
          <a:prstGeom prst="rect">
            <a:avLst/>
          </a:prstGeom>
        </p:spPr>
        <p:txBody>
          <a:bodyPr vert="horz" lIns="0" tIns="0" rIns="0" bIns="0" rtlCol="0" anchor="b">
            <a:spAutoFit/>
          </a:bodyPr>
          <a:lstStyle>
            <a:defPPr>
              <a:defRPr lang="en-US"/>
            </a:defPPr>
            <a:lvl1pPr marL="0" algn="r" defTabSz="914400" rtl="0" eaLnBrk="1" latinLnBrk="0" hangingPunct="1">
              <a:defRPr sz="800" kern="1200">
                <a:solidFill>
                  <a:schemeClr val="tx1">
                    <a:alpha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C1BBE33-A891-48E8-970C-4A8D55F96D53}" type="slidenum">
              <a:rPr lang="en-AU" smtClean="0"/>
              <a:pPr/>
              <a:t>1</a:t>
            </a:fld>
            <a:endParaRPr lang="en-AU"/>
          </a:p>
        </p:txBody>
      </p:sp>
      <p:sp>
        <p:nvSpPr>
          <p:cNvPr id="26" name="Slide Number Placeholder 1">
            <a:extLst>
              <a:ext uri="{FF2B5EF4-FFF2-40B4-BE49-F238E27FC236}">
                <a16:creationId xmlns:a16="http://schemas.microsoft.com/office/drawing/2014/main" id="{0BEA1983-CB9F-804D-D20C-00CBCDBB6520}"/>
              </a:ext>
            </a:extLst>
          </p:cNvPr>
          <p:cNvSpPr txBox="1">
            <a:spLocks/>
          </p:cNvSpPr>
          <p:nvPr/>
        </p:nvSpPr>
        <p:spPr>
          <a:xfrm>
            <a:off x="11957050" y="6519863"/>
            <a:ext cx="234950" cy="123825"/>
          </a:xfrm>
          <a:prstGeom prst="rect">
            <a:avLst/>
          </a:prstGeom>
        </p:spPr>
        <p:txBody>
          <a:bodyPr vert="horz" lIns="0" tIns="0" rIns="0" bIns="0" rtlCol="0" anchor="b">
            <a:spAutoFit/>
          </a:bodyPr>
          <a:lstStyle>
            <a:defPPr>
              <a:defRPr lang="en-US"/>
            </a:defPPr>
            <a:lvl1pPr marL="0" algn="r" defTabSz="914400" rtl="0" eaLnBrk="1" latinLnBrk="0" hangingPunct="1">
              <a:defRPr sz="800" kern="1200">
                <a:solidFill>
                  <a:schemeClr val="tx1">
                    <a:alpha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C1BBE33-A891-48E8-970C-4A8D55F96D53}" type="slidenum">
              <a:rPr lang="en-AU" smtClean="0"/>
              <a:pPr/>
              <a:t>1</a:t>
            </a:fld>
            <a:endParaRPr lang="en-AU"/>
          </a:p>
        </p:txBody>
      </p:sp>
      <p:sp>
        <p:nvSpPr>
          <p:cNvPr id="27" name="Rectangle 26">
            <a:extLst>
              <a:ext uri="{FF2B5EF4-FFF2-40B4-BE49-F238E27FC236}">
                <a16:creationId xmlns:a16="http://schemas.microsoft.com/office/drawing/2014/main" id="{13968877-652C-B0A3-5037-DAF3AD3BF892}"/>
              </a:ext>
            </a:extLst>
          </p:cNvPr>
          <p:cNvSpPr/>
          <p:nvPr/>
        </p:nvSpPr>
        <p:spPr>
          <a:xfrm>
            <a:off x="0" y="6245473"/>
            <a:ext cx="12192000" cy="6219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TextBox 27">
            <a:extLst>
              <a:ext uri="{FF2B5EF4-FFF2-40B4-BE49-F238E27FC236}">
                <a16:creationId xmlns:a16="http://schemas.microsoft.com/office/drawing/2014/main" id="{61B9DA79-40C8-EF3E-31D3-29008E60B8CB}"/>
              </a:ext>
            </a:extLst>
          </p:cNvPr>
          <p:cNvSpPr txBox="1"/>
          <p:nvPr/>
        </p:nvSpPr>
        <p:spPr>
          <a:xfrm>
            <a:off x="6325758" y="6450925"/>
            <a:ext cx="5650711" cy="215444"/>
          </a:xfrm>
          <a:prstGeom prst="rect">
            <a:avLst/>
          </a:prstGeom>
          <a:noFill/>
        </p:spPr>
        <p:txBody>
          <a:bodyPr wrap="square" lIns="0" tIns="0" rIns="0" bIns="0">
            <a:spAutoFit/>
          </a:bodyPr>
          <a:lstStyle/>
          <a:p>
            <a:pPr algn="r"/>
            <a:r>
              <a:rPr lang="en-SG" sz="1400">
                <a:solidFill>
                  <a:schemeClr val="accent2"/>
                </a:solidFill>
              </a:rPr>
              <a:t>contactus@climateimpactx.com • </a:t>
            </a:r>
            <a:r>
              <a:rPr lang="en-SG" sz="1400" b="1">
                <a:solidFill>
                  <a:schemeClr val="accent2"/>
                </a:solidFill>
              </a:rPr>
              <a:t>climateimpactx.com</a:t>
            </a:r>
          </a:p>
        </p:txBody>
      </p:sp>
      <p:pic>
        <p:nvPicPr>
          <p:cNvPr id="29" name="Picture 28">
            <a:extLst>
              <a:ext uri="{FF2B5EF4-FFF2-40B4-BE49-F238E27FC236}">
                <a16:creationId xmlns:a16="http://schemas.microsoft.com/office/drawing/2014/main" id="{C90A39CD-6A14-7115-9B3E-900851FEFF0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517688" y="6445161"/>
            <a:ext cx="690930" cy="206011"/>
          </a:xfrm>
          <a:prstGeom prst="rect">
            <a:avLst/>
          </a:prstGeom>
        </p:spPr>
      </p:pic>
      <p:pic>
        <p:nvPicPr>
          <p:cNvPr id="30" name="Picture 29">
            <a:extLst>
              <a:ext uri="{FF2B5EF4-FFF2-40B4-BE49-F238E27FC236}">
                <a16:creationId xmlns:a16="http://schemas.microsoft.com/office/drawing/2014/main" id="{5A446873-C7E9-266B-AF26-7BA17A9886B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92806" y="6436486"/>
            <a:ext cx="738395" cy="223361"/>
          </a:xfrm>
          <a:prstGeom prst="rect">
            <a:avLst/>
          </a:prstGeom>
        </p:spPr>
      </p:pic>
      <p:pic>
        <p:nvPicPr>
          <p:cNvPr id="31" name="Picture 30">
            <a:extLst>
              <a:ext uri="{FF2B5EF4-FFF2-40B4-BE49-F238E27FC236}">
                <a16:creationId xmlns:a16="http://schemas.microsoft.com/office/drawing/2014/main" id="{F31DC192-D141-5159-7F4B-F5A044F6D17A}"/>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390589" y="6466858"/>
            <a:ext cx="1123632" cy="162617"/>
          </a:xfrm>
          <a:prstGeom prst="rect">
            <a:avLst/>
          </a:prstGeom>
        </p:spPr>
      </p:pic>
      <p:pic>
        <p:nvPicPr>
          <p:cNvPr id="32" name="Picture 31">
            <a:extLst>
              <a:ext uri="{FF2B5EF4-FFF2-40B4-BE49-F238E27FC236}">
                <a16:creationId xmlns:a16="http://schemas.microsoft.com/office/drawing/2014/main" id="{4604DAAD-D756-7C71-7D72-0166740BC67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451666" y="6399070"/>
            <a:ext cx="724156" cy="298191"/>
          </a:xfrm>
          <a:prstGeom prst="rect">
            <a:avLst/>
          </a:prstGeom>
        </p:spPr>
      </p:pic>
      <p:sp>
        <p:nvSpPr>
          <p:cNvPr id="19" name="Rectangle 18">
            <a:extLst>
              <a:ext uri="{FF2B5EF4-FFF2-40B4-BE49-F238E27FC236}">
                <a16:creationId xmlns:a16="http://schemas.microsoft.com/office/drawing/2014/main" id="{5BC30D56-78EA-B8CA-6278-B2ECC55537BB}"/>
              </a:ext>
            </a:extLst>
          </p:cNvPr>
          <p:cNvSpPr/>
          <p:nvPr/>
        </p:nvSpPr>
        <p:spPr>
          <a:xfrm>
            <a:off x="9821146" y="-1"/>
            <a:ext cx="2392017" cy="24669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1867" kern="0">
              <a:solidFill>
                <a:srgbClr val="FBFCFC"/>
              </a:solidFill>
              <a:latin typeface="Century Gothic" panose="020F0302020204030204"/>
              <a:sym typeface="Arial"/>
            </a:endParaRPr>
          </a:p>
        </p:txBody>
      </p:sp>
      <p:pic>
        <p:nvPicPr>
          <p:cNvPr id="18" name="Picture 2" descr="Qr code&#10;&#10;Description automatically generated">
            <a:extLst>
              <a:ext uri="{FF2B5EF4-FFF2-40B4-BE49-F238E27FC236}">
                <a16:creationId xmlns:a16="http://schemas.microsoft.com/office/drawing/2014/main" id="{62E9BC2C-608F-7915-AC1D-6EB5D49A9307}"/>
              </a:ext>
            </a:extLst>
          </p:cNvPr>
          <p:cNvPicPr>
            <a:picLocks noChangeAspect="1"/>
          </p:cNvPicPr>
          <p:nvPr/>
        </p:nvPicPr>
        <p:blipFill>
          <a:blip r:embed="rId8">
            <a:biLevel thresh="25000"/>
          </a:blip>
          <a:stretch>
            <a:fillRect/>
          </a:stretch>
        </p:blipFill>
        <p:spPr>
          <a:xfrm>
            <a:off x="10172389" y="303313"/>
            <a:ext cx="1689525" cy="1663506"/>
          </a:xfrm>
          <a:prstGeom prst="rect">
            <a:avLst/>
          </a:prstGeom>
        </p:spPr>
      </p:pic>
      <p:pic>
        <p:nvPicPr>
          <p:cNvPr id="20" name="Picture 19" descr="Qr code&#10;&#10;Description automatically generated">
            <a:extLst>
              <a:ext uri="{FF2B5EF4-FFF2-40B4-BE49-F238E27FC236}">
                <a16:creationId xmlns:a16="http://schemas.microsoft.com/office/drawing/2014/main" id="{C5227446-55D9-C190-6E0C-F521F5B4E3F3}"/>
              </a:ext>
            </a:extLst>
          </p:cNvPr>
          <p:cNvPicPr>
            <a:picLocks noChangeAspect="1"/>
          </p:cNvPicPr>
          <p:nvPr/>
        </p:nvPicPr>
        <p:blipFill rotWithShape="1">
          <a:blip r:embed="rId9">
            <a:extLst>
              <a:ext uri="{28A0092B-C50C-407E-A947-70E740481C1C}">
                <a14:useLocalDpi xmlns:a14="http://schemas.microsoft.com/office/drawing/2010/main" val="0"/>
              </a:ext>
            </a:extLst>
          </a:blip>
          <a:srcRect t="79843"/>
          <a:stretch/>
        </p:blipFill>
        <p:spPr>
          <a:xfrm>
            <a:off x="10385744" y="2060472"/>
            <a:ext cx="1319963" cy="330804"/>
          </a:xfrm>
          <a:prstGeom prst="rect">
            <a:avLst/>
          </a:prstGeom>
        </p:spPr>
      </p:pic>
    </p:spTree>
    <p:extLst>
      <p:ext uri="{BB962C8B-B14F-4D97-AF65-F5344CB8AC3E}">
        <p14:creationId xmlns:p14="http://schemas.microsoft.com/office/powerpoint/2010/main" val="224311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ounded Rectangle 39">
            <a:extLst>
              <a:ext uri="{FF2B5EF4-FFF2-40B4-BE49-F238E27FC236}">
                <a16:creationId xmlns:a16="http://schemas.microsoft.com/office/drawing/2014/main" id="{47767675-8C8D-7D64-B111-830DFD34655E}"/>
              </a:ext>
            </a:extLst>
          </p:cNvPr>
          <p:cNvSpPr/>
          <p:nvPr/>
        </p:nvSpPr>
        <p:spPr>
          <a:xfrm>
            <a:off x="6096000" y="4570633"/>
            <a:ext cx="5500045" cy="1315818"/>
          </a:xfrm>
          <a:prstGeom prst="roundRect">
            <a:avLst>
              <a:gd name="adj" fmla="val 5893"/>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E1427373-9D16-4B03-D4A2-9629BC1C4920}"/>
              </a:ext>
            </a:extLst>
          </p:cNvPr>
          <p:cNvSpPr/>
          <p:nvPr/>
        </p:nvSpPr>
        <p:spPr>
          <a:xfrm>
            <a:off x="1719640" y="3687295"/>
            <a:ext cx="648000" cy="173181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BDFA01B6-4861-A50E-9EFA-58C702C629C8}"/>
              </a:ext>
            </a:extLst>
          </p:cNvPr>
          <p:cNvSpPr/>
          <p:nvPr/>
        </p:nvSpPr>
        <p:spPr>
          <a:xfrm>
            <a:off x="2580676" y="3685307"/>
            <a:ext cx="648000" cy="1090695"/>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a:extLst>
              <a:ext uri="{FF2B5EF4-FFF2-40B4-BE49-F238E27FC236}">
                <a16:creationId xmlns:a16="http://schemas.microsoft.com/office/drawing/2014/main" id="{3F954EAB-4F1B-E0D3-AC79-0E48507943C7}"/>
              </a:ext>
            </a:extLst>
          </p:cNvPr>
          <p:cNvSpPr/>
          <p:nvPr/>
        </p:nvSpPr>
        <p:spPr>
          <a:xfrm>
            <a:off x="3441712" y="3685307"/>
            <a:ext cx="648000" cy="65384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25">
            <a:extLst>
              <a:ext uri="{FF2B5EF4-FFF2-40B4-BE49-F238E27FC236}">
                <a16:creationId xmlns:a16="http://schemas.microsoft.com/office/drawing/2014/main" id="{BA36A1D3-42F4-E4C7-EE80-BD85D6492F6D}"/>
              </a:ext>
            </a:extLst>
          </p:cNvPr>
          <p:cNvSpPr/>
          <p:nvPr/>
        </p:nvSpPr>
        <p:spPr>
          <a:xfrm>
            <a:off x="4302747" y="3688014"/>
            <a:ext cx="648000" cy="3031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09D9BC68-A4AE-2BB2-7AC0-64D726C447A3}"/>
              </a:ext>
            </a:extLst>
          </p:cNvPr>
          <p:cNvSpPr>
            <a:spLocks noGrp="1"/>
          </p:cNvSpPr>
          <p:nvPr>
            <p:ph type="title"/>
          </p:nvPr>
        </p:nvSpPr>
        <p:spPr/>
        <p:txBody>
          <a:bodyPr/>
          <a:lstStyle/>
          <a:p>
            <a:r>
              <a:rPr lang="en-GB" dirty="0"/>
              <a:t>How corporates should use voluntary carbon credits</a:t>
            </a:r>
          </a:p>
        </p:txBody>
      </p:sp>
      <p:sp>
        <p:nvSpPr>
          <p:cNvPr id="3" name="Slide Number Placeholder 2">
            <a:extLst>
              <a:ext uri="{FF2B5EF4-FFF2-40B4-BE49-F238E27FC236}">
                <a16:creationId xmlns:a16="http://schemas.microsoft.com/office/drawing/2014/main" id="{852E71C9-E090-498E-8968-425166B08922}"/>
              </a:ext>
            </a:extLst>
          </p:cNvPr>
          <p:cNvSpPr>
            <a:spLocks noGrp="1"/>
          </p:cNvSpPr>
          <p:nvPr>
            <p:ph type="sldNum" sz="quarter" idx="10"/>
          </p:nvPr>
        </p:nvSpPr>
        <p:spPr/>
        <p:txBody>
          <a:bodyPr/>
          <a:lstStyle/>
          <a:p>
            <a:fld id="{FC1BBE33-A891-48E8-970C-4A8D55F96D53}" type="slidenum">
              <a:rPr lang="en-AU" smtClean="0"/>
              <a:pPr/>
              <a:t>10</a:t>
            </a:fld>
            <a:endParaRPr lang="en-AU"/>
          </a:p>
        </p:txBody>
      </p:sp>
      <p:sp>
        <p:nvSpPr>
          <p:cNvPr id="4" name="Text Placeholder 3">
            <a:extLst>
              <a:ext uri="{FF2B5EF4-FFF2-40B4-BE49-F238E27FC236}">
                <a16:creationId xmlns:a16="http://schemas.microsoft.com/office/drawing/2014/main" id="{E7D68C16-DA2C-23B4-1C66-639F893F9F85}"/>
              </a:ext>
            </a:extLst>
          </p:cNvPr>
          <p:cNvSpPr>
            <a:spLocks noGrp="1"/>
          </p:cNvSpPr>
          <p:nvPr>
            <p:ph type="body" sz="quarter" idx="51"/>
          </p:nvPr>
        </p:nvSpPr>
        <p:spPr/>
        <p:txBody>
          <a:bodyPr/>
          <a:lstStyle/>
          <a:p>
            <a:r>
              <a:rPr lang="en-GB"/>
              <a:t>To neutralise and compensate emissions on the path to Net-Zero</a:t>
            </a:r>
          </a:p>
        </p:txBody>
      </p:sp>
      <p:sp>
        <p:nvSpPr>
          <p:cNvPr id="5" name="Text Placeholder 4">
            <a:extLst>
              <a:ext uri="{FF2B5EF4-FFF2-40B4-BE49-F238E27FC236}">
                <a16:creationId xmlns:a16="http://schemas.microsoft.com/office/drawing/2014/main" id="{A316F209-872B-34F4-34A9-04C8716A1E01}"/>
              </a:ext>
            </a:extLst>
          </p:cNvPr>
          <p:cNvSpPr>
            <a:spLocks noGrp="1"/>
          </p:cNvSpPr>
          <p:nvPr>
            <p:ph type="body" sz="quarter" idx="52"/>
          </p:nvPr>
        </p:nvSpPr>
        <p:spPr/>
        <p:txBody>
          <a:bodyPr/>
          <a:lstStyle/>
          <a:p>
            <a:endParaRPr lang="en-GB"/>
          </a:p>
        </p:txBody>
      </p:sp>
      <p:cxnSp>
        <p:nvCxnSpPr>
          <p:cNvPr id="7" name="Straight Connector 6">
            <a:extLst>
              <a:ext uri="{FF2B5EF4-FFF2-40B4-BE49-F238E27FC236}">
                <a16:creationId xmlns:a16="http://schemas.microsoft.com/office/drawing/2014/main" id="{2EB30F15-ED70-AAB3-1E52-2D48F6F3D31C}"/>
              </a:ext>
            </a:extLst>
          </p:cNvPr>
          <p:cNvCxnSpPr/>
          <p:nvPr/>
        </p:nvCxnSpPr>
        <p:spPr>
          <a:xfrm>
            <a:off x="1427929" y="1524000"/>
            <a:ext cx="0" cy="4502727"/>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36CA623-E181-9CD2-8485-10E81ED6F9BA}"/>
              </a:ext>
            </a:extLst>
          </p:cNvPr>
          <p:cNvCxnSpPr>
            <a:cxnSpLocks/>
          </p:cNvCxnSpPr>
          <p:nvPr/>
        </p:nvCxnSpPr>
        <p:spPr>
          <a:xfrm>
            <a:off x="1081566" y="3685309"/>
            <a:ext cx="4250455"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72AB49A-A433-7A62-9B2A-5B9418B13EB0}"/>
              </a:ext>
            </a:extLst>
          </p:cNvPr>
          <p:cNvSpPr txBox="1"/>
          <p:nvPr/>
        </p:nvSpPr>
        <p:spPr>
          <a:xfrm>
            <a:off x="359999" y="1524000"/>
            <a:ext cx="859196" cy="215444"/>
          </a:xfrm>
          <a:prstGeom prst="rect">
            <a:avLst/>
          </a:prstGeom>
          <a:noFill/>
        </p:spPr>
        <p:txBody>
          <a:bodyPr wrap="square" lIns="0" tIns="0" rIns="0" bIns="0" rtlCol="0">
            <a:spAutoFit/>
          </a:bodyPr>
          <a:lstStyle/>
          <a:p>
            <a:pPr algn="l"/>
            <a:r>
              <a:rPr lang="en-GB" sz="1400" b="1"/>
              <a:t>Emissions</a:t>
            </a:r>
          </a:p>
        </p:txBody>
      </p:sp>
      <p:sp>
        <p:nvSpPr>
          <p:cNvPr id="12" name="Rectangle 11">
            <a:extLst>
              <a:ext uri="{FF2B5EF4-FFF2-40B4-BE49-F238E27FC236}">
                <a16:creationId xmlns:a16="http://schemas.microsoft.com/office/drawing/2014/main" id="{161F3DE9-3E90-1E14-4EAD-59A121087883}"/>
              </a:ext>
            </a:extLst>
          </p:cNvPr>
          <p:cNvSpPr/>
          <p:nvPr/>
        </p:nvSpPr>
        <p:spPr>
          <a:xfrm>
            <a:off x="1719639" y="1953491"/>
            <a:ext cx="648000" cy="172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8F726A68-196C-1FFC-6A75-04B79A02AD7F}"/>
              </a:ext>
            </a:extLst>
          </p:cNvPr>
          <p:cNvSpPr/>
          <p:nvPr/>
        </p:nvSpPr>
        <p:spPr>
          <a:xfrm>
            <a:off x="2580674" y="2594612"/>
            <a:ext cx="648000" cy="1090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tangle 13">
            <a:extLst>
              <a:ext uri="{FF2B5EF4-FFF2-40B4-BE49-F238E27FC236}">
                <a16:creationId xmlns:a16="http://schemas.microsoft.com/office/drawing/2014/main" id="{DAC29AFA-9576-3666-9F86-344184B596B0}"/>
              </a:ext>
            </a:extLst>
          </p:cNvPr>
          <p:cNvSpPr/>
          <p:nvPr/>
        </p:nvSpPr>
        <p:spPr>
          <a:xfrm>
            <a:off x="3441711" y="3031460"/>
            <a:ext cx="648000" cy="65384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14AF3876-345F-0540-0C0F-CCEF3E73050A}"/>
              </a:ext>
            </a:extLst>
          </p:cNvPr>
          <p:cNvSpPr/>
          <p:nvPr/>
        </p:nvSpPr>
        <p:spPr>
          <a:xfrm>
            <a:off x="4302747" y="3382112"/>
            <a:ext cx="648000" cy="3031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TextBox 15">
            <a:extLst>
              <a:ext uri="{FF2B5EF4-FFF2-40B4-BE49-F238E27FC236}">
                <a16:creationId xmlns:a16="http://schemas.microsoft.com/office/drawing/2014/main" id="{6F552CAC-2C71-284F-8309-45F1AAC9E91B}"/>
              </a:ext>
            </a:extLst>
          </p:cNvPr>
          <p:cNvSpPr txBox="1"/>
          <p:nvPr/>
        </p:nvSpPr>
        <p:spPr>
          <a:xfrm>
            <a:off x="1786905" y="3756628"/>
            <a:ext cx="512830" cy="184666"/>
          </a:xfrm>
          <a:prstGeom prst="rect">
            <a:avLst/>
          </a:prstGeom>
          <a:noFill/>
        </p:spPr>
        <p:txBody>
          <a:bodyPr wrap="square" lIns="0" tIns="0" rIns="0" bIns="0" rtlCol="0">
            <a:spAutoFit/>
          </a:bodyPr>
          <a:lstStyle/>
          <a:p>
            <a:pPr algn="ctr"/>
            <a:r>
              <a:rPr lang="en-GB" sz="1200" b="1">
                <a:solidFill>
                  <a:schemeClr val="bg1">
                    <a:lumMod val="75000"/>
                  </a:schemeClr>
                </a:solidFill>
              </a:rPr>
              <a:t>2020</a:t>
            </a:r>
          </a:p>
        </p:txBody>
      </p:sp>
      <p:sp>
        <p:nvSpPr>
          <p:cNvPr id="17" name="TextBox 16">
            <a:extLst>
              <a:ext uri="{FF2B5EF4-FFF2-40B4-BE49-F238E27FC236}">
                <a16:creationId xmlns:a16="http://schemas.microsoft.com/office/drawing/2014/main" id="{519629DE-189A-6642-2264-CDDC88AB0E26}"/>
              </a:ext>
            </a:extLst>
          </p:cNvPr>
          <p:cNvSpPr txBox="1"/>
          <p:nvPr/>
        </p:nvSpPr>
        <p:spPr>
          <a:xfrm>
            <a:off x="2644034" y="3756628"/>
            <a:ext cx="512830" cy="184666"/>
          </a:xfrm>
          <a:prstGeom prst="rect">
            <a:avLst/>
          </a:prstGeom>
          <a:noFill/>
        </p:spPr>
        <p:txBody>
          <a:bodyPr wrap="square" lIns="0" tIns="0" rIns="0" bIns="0" rtlCol="0">
            <a:spAutoFit/>
          </a:bodyPr>
          <a:lstStyle/>
          <a:p>
            <a:pPr algn="ctr"/>
            <a:r>
              <a:rPr lang="en-GB" sz="1200" b="1">
                <a:solidFill>
                  <a:schemeClr val="bg1">
                    <a:lumMod val="75000"/>
                  </a:schemeClr>
                </a:solidFill>
              </a:rPr>
              <a:t>2030</a:t>
            </a:r>
          </a:p>
        </p:txBody>
      </p:sp>
      <p:sp>
        <p:nvSpPr>
          <p:cNvPr id="18" name="TextBox 17">
            <a:extLst>
              <a:ext uri="{FF2B5EF4-FFF2-40B4-BE49-F238E27FC236}">
                <a16:creationId xmlns:a16="http://schemas.microsoft.com/office/drawing/2014/main" id="{02394F4F-8053-C6AA-347B-6DD4709D4E80}"/>
              </a:ext>
            </a:extLst>
          </p:cNvPr>
          <p:cNvSpPr txBox="1"/>
          <p:nvPr/>
        </p:nvSpPr>
        <p:spPr>
          <a:xfrm>
            <a:off x="3501163" y="3756628"/>
            <a:ext cx="512830" cy="184666"/>
          </a:xfrm>
          <a:prstGeom prst="rect">
            <a:avLst/>
          </a:prstGeom>
          <a:noFill/>
        </p:spPr>
        <p:txBody>
          <a:bodyPr wrap="square" lIns="0" tIns="0" rIns="0" bIns="0" rtlCol="0">
            <a:spAutoFit/>
          </a:bodyPr>
          <a:lstStyle/>
          <a:p>
            <a:pPr algn="ctr"/>
            <a:r>
              <a:rPr lang="en-GB" sz="1200" b="1">
                <a:solidFill>
                  <a:schemeClr val="bg1">
                    <a:lumMod val="75000"/>
                  </a:schemeClr>
                </a:solidFill>
              </a:rPr>
              <a:t>2040</a:t>
            </a:r>
          </a:p>
        </p:txBody>
      </p:sp>
      <p:sp>
        <p:nvSpPr>
          <p:cNvPr id="19" name="TextBox 18">
            <a:extLst>
              <a:ext uri="{FF2B5EF4-FFF2-40B4-BE49-F238E27FC236}">
                <a16:creationId xmlns:a16="http://schemas.microsoft.com/office/drawing/2014/main" id="{7F3580C4-F5D8-B8BE-871F-F96B4F0F3145}"/>
              </a:ext>
            </a:extLst>
          </p:cNvPr>
          <p:cNvSpPr txBox="1"/>
          <p:nvPr/>
        </p:nvSpPr>
        <p:spPr>
          <a:xfrm>
            <a:off x="4364874" y="3756628"/>
            <a:ext cx="512830" cy="184666"/>
          </a:xfrm>
          <a:prstGeom prst="rect">
            <a:avLst/>
          </a:prstGeom>
          <a:noFill/>
        </p:spPr>
        <p:txBody>
          <a:bodyPr wrap="square" lIns="0" tIns="0" rIns="0" bIns="0" rtlCol="0">
            <a:spAutoFit/>
          </a:bodyPr>
          <a:lstStyle/>
          <a:p>
            <a:pPr algn="ctr"/>
            <a:r>
              <a:rPr lang="en-GB" sz="1200" b="1">
                <a:solidFill>
                  <a:schemeClr val="bg1">
                    <a:lumMod val="75000"/>
                  </a:schemeClr>
                </a:solidFill>
              </a:rPr>
              <a:t>2050</a:t>
            </a:r>
          </a:p>
        </p:txBody>
      </p:sp>
      <p:sp>
        <p:nvSpPr>
          <p:cNvPr id="22" name="Freeform 21">
            <a:extLst>
              <a:ext uri="{FF2B5EF4-FFF2-40B4-BE49-F238E27FC236}">
                <a16:creationId xmlns:a16="http://schemas.microsoft.com/office/drawing/2014/main" id="{B98D4779-A2CF-AEE4-12B0-1C345B58AF47}"/>
              </a:ext>
            </a:extLst>
          </p:cNvPr>
          <p:cNvSpPr/>
          <p:nvPr/>
        </p:nvSpPr>
        <p:spPr>
          <a:xfrm>
            <a:off x="1985760" y="1953490"/>
            <a:ext cx="2677197" cy="1474470"/>
          </a:xfrm>
          <a:custGeom>
            <a:avLst/>
            <a:gdLst>
              <a:gd name="connsiteX0" fmla="*/ 0 w 2617470"/>
              <a:gd name="connsiteY0" fmla="*/ 0 h 1474470"/>
              <a:gd name="connsiteX1" fmla="*/ 2617470 w 2617470"/>
              <a:gd name="connsiteY1" fmla="*/ 1474470 h 1474470"/>
              <a:gd name="connsiteX0" fmla="*/ 0 w 2617470"/>
              <a:gd name="connsiteY0" fmla="*/ 0 h 1474470"/>
              <a:gd name="connsiteX1" fmla="*/ 2617470 w 2617470"/>
              <a:gd name="connsiteY1" fmla="*/ 1474470 h 1474470"/>
              <a:gd name="connsiteX0" fmla="*/ 0 w 2617470"/>
              <a:gd name="connsiteY0" fmla="*/ 0 h 1474470"/>
              <a:gd name="connsiteX1" fmla="*/ 2617470 w 2617470"/>
              <a:gd name="connsiteY1" fmla="*/ 1474470 h 1474470"/>
              <a:gd name="connsiteX0" fmla="*/ 0 w 2617470"/>
              <a:gd name="connsiteY0" fmla="*/ 0 h 1474470"/>
              <a:gd name="connsiteX1" fmla="*/ 2617470 w 2617470"/>
              <a:gd name="connsiteY1" fmla="*/ 1474470 h 1474470"/>
              <a:gd name="connsiteX0" fmla="*/ 0 w 2617470"/>
              <a:gd name="connsiteY0" fmla="*/ 0 h 1474470"/>
              <a:gd name="connsiteX1" fmla="*/ 2617470 w 2617470"/>
              <a:gd name="connsiteY1" fmla="*/ 1474470 h 1474470"/>
              <a:gd name="connsiteX0" fmla="*/ 0 w 2617470"/>
              <a:gd name="connsiteY0" fmla="*/ 0 h 1474470"/>
              <a:gd name="connsiteX1" fmla="*/ 2617470 w 2617470"/>
              <a:gd name="connsiteY1" fmla="*/ 1474470 h 1474470"/>
              <a:gd name="connsiteX0" fmla="*/ 0 w 2617470"/>
              <a:gd name="connsiteY0" fmla="*/ 0 h 1474470"/>
              <a:gd name="connsiteX1" fmla="*/ 2617470 w 2617470"/>
              <a:gd name="connsiteY1" fmla="*/ 1474470 h 1474470"/>
            </a:gdLst>
            <a:ahLst/>
            <a:cxnLst>
              <a:cxn ang="0">
                <a:pos x="connsiteX0" y="connsiteY0"/>
              </a:cxn>
              <a:cxn ang="0">
                <a:pos x="connsiteX1" y="connsiteY1"/>
              </a:cxn>
            </a:cxnLst>
            <a:rect l="l" t="t" r="r" b="b"/>
            <a:pathLst>
              <a:path w="2617470" h="1474470">
                <a:moveTo>
                  <a:pt x="0" y="0"/>
                </a:moveTo>
                <a:cubicBezTo>
                  <a:pt x="563880" y="531495"/>
                  <a:pt x="1127760" y="937260"/>
                  <a:pt x="2617470" y="1474470"/>
                </a:cubicBezTo>
              </a:path>
            </a:pathLst>
          </a:custGeom>
          <a:noFill/>
          <a:ln w="63500" cap="rnd">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Box 30">
            <a:extLst>
              <a:ext uri="{FF2B5EF4-FFF2-40B4-BE49-F238E27FC236}">
                <a16:creationId xmlns:a16="http://schemas.microsoft.com/office/drawing/2014/main" id="{4EE0C32C-C805-1EAC-2A69-55B105DF4AB2}"/>
              </a:ext>
            </a:extLst>
          </p:cNvPr>
          <p:cNvSpPr txBox="1"/>
          <p:nvPr/>
        </p:nvSpPr>
        <p:spPr>
          <a:xfrm>
            <a:off x="6890334" y="1501396"/>
            <a:ext cx="4629665" cy="738664"/>
          </a:xfrm>
          <a:prstGeom prst="rect">
            <a:avLst/>
          </a:prstGeom>
          <a:noFill/>
        </p:spPr>
        <p:txBody>
          <a:bodyPr wrap="square" lIns="0" tIns="0" rIns="0" bIns="0" rtlCol="0">
            <a:spAutoFit/>
          </a:bodyPr>
          <a:lstStyle/>
          <a:p>
            <a:pPr algn="l"/>
            <a:r>
              <a:rPr lang="en-GB" sz="1600" b="1"/>
              <a:t>Measure emissions and set a target </a:t>
            </a:r>
            <a:r>
              <a:rPr lang="en-GB" sz="1600"/>
              <a:t>to achieve ‘Net-Zero’ emissions on a science-aligned pathway (SBTi).</a:t>
            </a:r>
          </a:p>
        </p:txBody>
      </p:sp>
      <p:sp>
        <p:nvSpPr>
          <p:cNvPr id="32" name="TextBox 31">
            <a:extLst>
              <a:ext uri="{FF2B5EF4-FFF2-40B4-BE49-F238E27FC236}">
                <a16:creationId xmlns:a16="http://schemas.microsoft.com/office/drawing/2014/main" id="{D43AD167-8F73-CED8-D63E-27CDD4D45DF2}"/>
              </a:ext>
            </a:extLst>
          </p:cNvPr>
          <p:cNvSpPr txBox="1"/>
          <p:nvPr/>
        </p:nvSpPr>
        <p:spPr>
          <a:xfrm>
            <a:off x="6890334" y="2594612"/>
            <a:ext cx="4629665" cy="738664"/>
          </a:xfrm>
          <a:prstGeom prst="rect">
            <a:avLst/>
          </a:prstGeom>
          <a:noFill/>
        </p:spPr>
        <p:txBody>
          <a:bodyPr wrap="square" lIns="0" tIns="0" rIns="0" bIns="0" rtlCol="0">
            <a:spAutoFit/>
          </a:bodyPr>
          <a:lstStyle/>
          <a:p>
            <a:pPr algn="l"/>
            <a:r>
              <a:rPr lang="en-GB" sz="1600" b="1"/>
              <a:t>Take action to prevent and reduce emissions </a:t>
            </a:r>
            <a:r>
              <a:rPr lang="en-GB" sz="1600"/>
              <a:t>in your value chain (e.g. through new technology and improved business processes).</a:t>
            </a:r>
          </a:p>
        </p:txBody>
      </p:sp>
      <p:sp>
        <p:nvSpPr>
          <p:cNvPr id="33" name="TextBox 32">
            <a:extLst>
              <a:ext uri="{FF2B5EF4-FFF2-40B4-BE49-F238E27FC236}">
                <a16:creationId xmlns:a16="http://schemas.microsoft.com/office/drawing/2014/main" id="{19B8F4B4-9301-C7DC-F2F5-320248032561}"/>
              </a:ext>
            </a:extLst>
          </p:cNvPr>
          <p:cNvSpPr txBox="1"/>
          <p:nvPr/>
        </p:nvSpPr>
        <p:spPr>
          <a:xfrm>
            <a:off x="6858626" y="3744987"/>
            <a:ext cx="4629665" cy="492443"/>
          </a:xfrm>
          <a:prstGeom prst="rect">
            <a:avLst/>
          </a:prstGeom>
          <a:noFill/>
        </p:spPr>
        <p:txBody>
          <a:bodyPr wrap="square" lIns="0" tIns="0" rIns="0" bIns="0" rtlCol="0">
            <a:spAutoFit/>
          </a:bodyPr>
          <a:lstStyle/>
          <a:p>
            <a:pPr algn="l"/>
            <a:r>
              <a:rPr lang="en-GB" sz="1600" b="1"/>
              <a:t>Use high-quality carbon credits to neutralise </a:t>
            </a:r>
            <a:r>
              <a:rPr lang="en-GB" sz="1600"/>
              <a:t>residual, hard-to-abate emissions (= Net-Zero)</a:t>
            </a:r>
          </a:p>
        </p:txBody>
      </p:sp>
      <p:sp>
        <p:nvSpPr>
          <p:cNvPr id="36" name="Oval 35">
            <a:extLst>
              <a:ext uri="{FF2B5EF4-FFF2-40B4-BE49-F238E27FC236}">
                <a16:creationId xmlns:a16="http://schemas.microsoft.com/office/drawing/2014/main" id="{967AEE3F-0E3B-47C2-236C-36D0286E5256}"/>
              </a:ext>
            </a:extLst>
          </p:cNvPr>
          <p:cNvSpPr/>
          <p:nvPr/>
        </p:nvSpPr>
        <p:spPr>
          <a:xfrm>
            <a:off x="6293277" y="1524000"/>
            <a:ext cx="334297" cy="334297"/>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a:t>1</a:t>
            </a:r>
          </a:p>
        </p:txBody>
      </p:sp>
      <p:sp>
        <p:nvSpPr>
          <p:cNvPr id="37" name="Oval 36">
            <a:extLst>
              <a:ext uri="{FF2B5EF4-FFF2-40B4-BE49-F238E27FC236}">
                <a16:creationId xmlns:a16="http://schemas.microsoft.com/office/drawing/2014/main" id="{2815A5A6-CBCC-548A-03E0-A929984C8009}"/>
              </a:ext>
            </a:extLst>
          </p:cNvPr>
          <p:cNvSpPr/>
          <p:nvPr/>
        </p:nvSpPr>
        <p:spPr>
          <a:xfrm>
            <a:off x="6293277" y="2635045"/>
            <a:ext cx="334297" cy="334297"/>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a:t>2</a:t>
            </a:r>
          </a:p>
        </p:txBody>
      </p:sp>
      <p:sp>
        <p:nvSpPr>
          <p:cNvPr id="38" name="Oval 37">
            <a:extLst>
              <a:ext uri="{FF2B5EF4-FFF2-40B4-BE49-F238E27FC236}">
                <a16:creationId xmlns:a16="http://schemas.microsoft.com/office/drawing/2014/main" id="{FC14A7D9-CB6A-CB47-96B5-E20548C5FACE}"/>
              </a:ext>
            </a:extLst>
          </p:cNvPr>
          <p:cNvSpPr/>
          <p:nvPr/>
        </p:nvSpPr>
        <p:spPr>
          <a:xfrm>
            <a:off x="6293277" y="3736258"/>
            <a:ext cx="334297" cy="33429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a:t>3</a:t>
            </a:r>
          </a:p>
        </p:txBody>
      </p:sp>
      <p:sp>
        <p:nvSpPr>
          <p:cNvPr id="39" name="Oval 38">
            <a:extLst>
              <a:ext uri="{FF2B5EF4-FFF2-40B4-BE49-F238E27FC236}">
                <a16:creationId xmlns:a16="http://schemas.microsoft.com/office/drawing/2014/main" id="{F1E18AE2-6908-0DA3-974A-FA507873A960}"/>
              </a:ext>
            </a:extLst>
          </p:cNvPr>
          <p:cNvSpPr/>
          <p:nvPr/>
        </p:nvSpPr>
        <p:spPr>
          <a:xfrm>
            <a:off x="6298008" y="4776002"/>
            <a:ext cx="334297" cy="334297"/>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a:t>4</a:t>
            </a:r>
          </a:p>
        </p:txBody>
      </p:sp>
      <p:sp>
        <p:nvSpPr>
          <p:cNvPr id="41" name="TextBox 40">
            <a:extLst>
              <a:ext uri="{FF2B5EF4-FFF2-40B4-BE49-F238E27FC236}">
                <a16:creationId xmlns:a16="http://schemas.microsoft.com/office/drawing/2014/main" id="{2756859B-E3EF-3AE1-9BAE-45C2C3423E2E}"/>
              </a:ext>
            </a:extLst>
          </p:cNvPr>
          <p:cNvSpPr txBox="1"/>
          <p:nvPr/>
        </p:nvSpPr>
        <p:spPr>
          <a:xfrm>
            <a:off x="6828767" y="4779523"/>
            <a:ext cx="4471608" cy="907941"/>
          </a:xfrm>
          <a:prstGeom prst="rect">
            <a:avLst/>
          </a:prstGeom>
          <a:noFill/>
        </p:spPr>
        <p:txBody>
          <a:bodyPr wrap="square" lIns="0" tIns="0" rIns="0" bIns="0" rtlCol="0">
            <a:spAutoFit/>
          </a:bodyPr>
          <a:lstStyle/>
          <a:p>
            <a:pPr algn="l"/>
            <a:r>
              <a:rPr lang="en-GB" sz="1100" b="1" spc="30"/>
              <a:t>THE HIGH AMBITION PATHWAY</a:t>
            </a:r>
          </a:p>
          <a:p>
            <a:pPr algn="l"/>
            <a:r>
              <a:rPr lang="en-GB" sz="1600"/>
              <a:t>Demonstrate leadership by using carbon credits to </a:t>
            </a:r>
            <a:r>
              <a:rPr lang="en-GB" sz="1600" b="1"/>
              <a:t>compensate for emissions on the pathway to ‘Net-Zero’</a:t>
            </a:r>
          </a:p>
        </p:txBody>
      </p:sp>
      <p:sp>
        <p:nvSpPr>
          <p:cNvPr id="6" name="Rectangle 5">
            <a:extLst>
              <a:ext uri="{FF2B5EF4-FFF2-40B4-BE49-F238E27FC236}">
                <a16:creationId xmlns:a16="http://schemas.microsoft.com/office/drawing/2014/main" id="{A124A568-3DCC-BE21-8F98-6B2E98ADC239}"/>
              </a:ext>
            </a:extLst>
          </p:cNvPr>
          <p:cNvSpPr/>
          <p:nvPr/>
        </p:nvSpPr>
        <p:spPr>
          <a:xfrm>
            <a:off x="2941724" y="5470952"/>
            <a:ext cx="2858606" cy="830997"/>
          </a:xfrm>
          <a:prstGeom prst="rect">
            <a:avLst/>
          </a:prstGeom>
        </p:spPr>
        <p:txBody>
          <a:bodyPr wrap="square">
            <a:spAutoFit/>
          </a:bodyPr>
          <a:lstStyle/>
          <a:p>
            <a:r>
              <a:rPr lang="en-GB" sz="1200"/>
              <a:t>Corporates may face a number of concerns around quality and procurement of the right credits for their high-ambition needs   </a:t>
            </a:r>
          </a:p>
        </p:txBody>
      </p:sp>
      <p:sp>
        <p:nvSpPr>
          <p:cNvPr id="8" name="Arc 7">
            <a:extLst>
              <a:ext uri="{FF2B5EF4-FFF2-40B4-BE49-F238E27FC236}">
                <a16:creationId xmlns:a16="http://schemas.microsoft.com/office/drawing/2014/main" id="{BB2E2E43-8187-10A3-A6B4-4812A74A9A57}"/>
              </a:ext>
            </a:extLst>
          </p:cNvPr>
          <p:cNvSpPr/>
          <p:nvPr/>
        </p:nvSpPr>
        <p:spPr>
          <a:xfrm rot="16200000">
            <a:off x="5513339" y="4935539"/>
            <a:ext cx="573981" cy="967147"/>
          </a:xfrm>
          <a:custGeom>
            <a:avLst/>
            <a:gdLst>
              <a:gd name="connsiteX0" fmla="*/ 336232 w 573981"/>
              <a:gd name="connsiteY0" fmla="*/ 7171 h 967147"/>
              <a:gd name="connsiteX1" fmla="*/ 573981 w 573981"/>
              <a:gd name="connsiteY1" fmla="*/ 483574 h 967147"/>
              <a:gd name="connsiteX2" fmla="*/ 286991 w 573981"/>
              <a:gd name="connsiteY2" fmla="*/ 483574 h 967147"/>
              <a:gd name="connsiteX3" fmla="*/ 336232 w 573981"/>
              <a:gd name="connsiteY3" fmla="*/ 7171 h 967147"/>
              <a:gd name="connsiteX0" fmla="*/ 336232 w 573981"/>
              <a:gd name="connsiteY0" fmla="*/ 7171 h 967147"/>
              <a:gd name="connsiteX1" fmla="*/ 573981 w 573981"/>
              <a:gd name="connsiteY1" fmla="*/ 483574 h 967147"/>
            </a:gdLst>
            <a:ahLst/>
            <a:cxnLst>
              <a:cxn ang="0">
                <a:pos x="connsiteX0" y="connsiteY0"/>
              </a:cxn>
              <a:cxn ang="0">
                <a:pos x="connsiteX1" y="connsiteY1"/>
              </a:cxn>
            </a:cxnLst>
            <a:rect l="l" t="t" r="r" b="b"/>
            <a:pathLst>
              <a:path w="573981" h="967147" stroke="0" extrusionOk="0">
                <a:moveTo>
                  <a:pt x="336232" y="7171"/>
                </a:moveTo>
                <a:cubicBezTo>
                  <a:pt x="444100" y="29265"/>
                  <a:pt x="549880" y="257560"/>
                  <a:pt x="573981" y="483574"/>
                </a:cubicBezTo>
                <a:cubicBezTo>
                  <a:pt x="520882" y="484964"/>
                  <a:pt x="336897" y="476395"/>
                  <a:pt x="286991" y="483574"/>
                </a:cubicBezTo>
                <a:cubicBezTo>
                  <a:pt x="325292" y="353354"/>
                  <a:pt x="294513" y="226294"/>
                  <a:pt x="336232" y="7171"/>
                </a:cubicBezTo>
                <a:close/>
              </a:path>
              <a:path w="573981" h="967147" fill="none" extrusionOk="0">
                <a:moveTo>
                  <a:pt x="336232" y="7171"/>
                </a:moveTo>
                <a:cubicBezTo>
                  <a:pt x="478049" y="48022"/>
                  <a:pt x="581210" y="233639"/>
                  <a:pt x="573981" y="483574"/>
                </a:cubicBezTo>
              </a:path>
              <a:path w="573981" h="967147" fill="none" stroke="0" extrusionOk="0">
                <a:moveTo>
                  <a:pt x="336232" y="7171"/>
                </a:moveTo>
                <a:cubicBezTo>
                  <a:pt x="469633" y="45295"/>
                  <a:pt x="581071" y="251903"/>
                  <a:pt x="573981" y="483574"/>
                </a:cubicBezTo>
              </a:path>
            </a:pathLst>
          </a:custGeom>
          <a:ln w="25400">
            <a:solidFill>
              <a:schemeClr val="accent5"/>
            </a:solidFill>
            <a:tailEnd type="triangle"/>
            <a:extLst>
              <a:ext uri="{C807C97D-BFC1-408E-A445-0C87EB9F89A2}">
                <ask:lineSketchStyleProps xmlns:ask="http://schemas.microsoft.com/office/drawing/2018/sketchyshapes" sd="1219033472">
                  <a:prstGeom prst="arc">
                    <a:avLst>
                      <a:gd name="adj1" fmla="val 16554074"/>
                      <a:gd name="adj2" fmla="val 0"/>
                    </a:avLst>
                  </a:prstGeom>
                  <ask:type>
                    <ask:lineSketchCurved/>
                  </ask:type>
                </ask:lineSketchStyleProps>
              </a:ext>
            </a:extLs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3815636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C47F87-A7D2-4C0C-856B-C5BD45F30522}"/>
              </a:ext>
            </a:extLst>
          </p:cNvPr>
          <p:cNvSpPr>
            <a:spLocks noGrp="1"/>
          </p:cNvSpPr>
          <p:nvPr>
            <p:ph type="title"/>
          </p:nvPr>
        </p:nvSpPr>
        <p:spPr>
          <a:xfrm>
            <a:off x="359999" y="450000"/>
            <a:ext cx="11160000" cy="332399"/>
          </a:xfrm>
        </p:spPr>
        <p:txBody>
          <a:bodyPr/>
          <a:lstStyle/>
          <a:p>
            <a:r>
              <a:rPr lang="en-GB" dirty="0"/>
              <a:t>CIX is bringing several platforms to meet different buyer and supplier needs </a:t>
            </a:r>
            <a:endParaRPr lang="en-SG" dirty="0"/>
          </a:p>
        </p:txBody>
      </p:sp>
      <p:sp>
        <p:nvSpPr>
          <p:cNvPr id="4" name="Text Placeholder 3">
            <a:extLst>
              <a:ext uri="{FF2B5EF4-FFF2-40B4-BE49-F238E27FC236}">
                <a16:creationId xmlns:a16="http://schemas.microsoft.com/office/drawing/2014/main" id="{9C2A5AA5-BC63-41C1-88E6-02DAFDBC41AB}"/>
              </a:ext>
            </a:extLst>
          </p:cNvPr>
          <p:cNvSpPr>
            <a:spLocks noGrp="1"/>
          </p:cNvSpPr>
          <p:nvPr>
            <p:ph type="body" sz="quarter" idx="52"/>
          </p:nvPr>
        </p:nvSpPr>
        <p:spPr/>
        <p:txBody>
          <a:bodyPr/>
          <a:lstStyle/>
          <a:p>
            <a:endParaRPr lang="en-SG" dirty="0"/>
          </a:p>
        </p:txBody>
      </p:sp>
      <p:sp>
        <p:nvSpPr>
          <p:cNvPr id="168" name="Slide Number Placeholder 2">
            <a:extLst>
              <a:ext uri="{FF2B5EF4-FFF2-40B4-BE49-F238E27FC236}">
                <a16:creationId xmlns:a16="http://schemas.microsoft.com/office/drawing/2014/main" id="{289DB2A0-29E9-4188-95EB-1532BD23A39C}"/>
              </a:ext>
            </a:extLst>
          </p:cNvPr>
          <p:cNvSpPr>
            <a:spLocks noGrp="1"/>
          </p:cNvSpPr>
          <p:nvPr>
            <p:ph type="sldNum" sz="quarter" idx="10"/>
          </p:nvPr>
        </p:nvSpPr>
        <p:spPr>
          <a:xfrm>
            <a:off x="11596055" y="6520402"/>
            <a:ext cx="235945" cy="123111"/>
          </a:xfrm>
        </p:spPr>
        <p:txBody>
          <a:bodyPr/>
          <a:lstStyle/>
          <a:p>
            <a:fld id="{FC1BBE33-A891-48E8-970C-4A8D55F96D53}" type="slidenum">
              <a:rPr lang="en-AU" smtClean="0"/>
              <a:pPr/>
              <a:t>11</a:t>
            </a:fld>
            <a:endParaRPr lang="en-AU"/>
          </a:p>
        </p:txBody>
      </p:sp>
      <p:pic>
        <p:nvPicPr>
          <p:cNvPr id="169" name="Picture 168" descr="Graphical user interface&#10;&#10;Description automatically generated">
            <a:extLst>
              <a:ext uri="{FF2B5EF4-FFF2-40B4-BE49-F238E27FC236}">
                <a16:creationId xmlns:a16="http://schemas.microsoft.com/office/drawing/2014/main" id="{72E05DB2-607D-442E-AC3C-124356BD9FF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530120" y="1712236"/>
            <a:ext cx="3199998" cy="1800000"/>
          </a:xfrm>
          <a:prstGeom prst="rect">
            <a:avLst/>
          </a:prstGeom>
          <a:ln w="12700">
            <a:solidFill>
              <a:schemeClr val="bg1">
                <a:lumMod val="90000"/>
              </a:schemeClr>
            </a:solidFill>
          </a:ln>
          <a:effectLst>
            <a:outerShdw blurRad="254000" sx="102000" sy="102000" algn="ctr" rotWithShape="0">
              <a:prstClr val="black">
                <a:alpha val="10000"/>
              </a:prstClr>
            </a:outerShdw>
          </a:effectLst>
        </p:spPr>
      </p:pic>
      <p:pic>
        <p:nvPicPr>
          <p:cNvPr id="170" name="Picture 169">
            <a:extLst>
              <a:ext uri="{FF2B5EF4-FFF2-40B4-BE49-F238E27FC236}">
                <a16:creationId xmlns:a16="http://schemas.microsoft.com/office/drawing/2014/main" id="{B1054909-7F20-4546-8DB4-CE9B844950EB}"/>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598938" y="1712236"/>
            <a:ext cx="2986222" cy="1800000"/>
          </a:xfrm>
          <a:prstGeom prst="rect">
            <a:avLst/>
          </a:prstGeom>
          <a:ln>
            <a:solidFill>
              <a:schemeClr val="tx2">
                <a:lumMod val="90000"/>
              </a:schemeClr>
            </a:solidFill>
          </a:ln>
          <a:effectLst>
            <a:outerShdw blurRad="254000" sx="102000" sy="102000" algn="ctr" rotWithShape="0">
              <a:prstClr val="black">
                <a:alpha val="10000"/>
              </a:prstClr>
            </a:outerShdw>
          </a:effectLst>
        </p:spPr>
      </p:pic>
      <p:pic>
        <p:nvPicPr>
          <p:cNvPr id="171" name="Picture 170" descr="Graphical user interface, application&#10;&#10;Description automatically generated">
            <a:extLst>
              <a:ext uri="{FF2B5EF4-FFF2-40B4-BE49-F238E27FC236}">
                <a16:creationId xmlns:a16="http://schemas.microsoft.com/office/drawing/2014/main" id="{3FFDBC95-7072-400A-8E49-F7D36A9F0C4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49726" y="1712236"/>
            <a:ext cx="2978324" cy="1800000"/>
          </a:xfrm>
          <a:prstGeom prst="rect">
            <a:avLst/>
          </a:prstGeom>
          <a:ln>
            <a:solidFill>
              <a:schemeClr val="bg1">
                <a:lumMod val="75000"/>
              </a:schemeClr>
            </a:solidFill>
          </a:ln>
          <a:effectLst>
            <a:outerShdw blurRad="254000" sx="102000" sy="102000" algn="ctr" rotWithShape="0">
              <a:prstClr val="black">
                <a:alpha val="10000"/>
              </a:prstClr>
            </a:outerShdw>
          </a:effectLst>
        </p:spPr>
      </p:pic>
      <p:cxnSp>
        <p:nvCxnSpPr>
          <p:cNvPr id="172" name="Straight Connector 171">
            <a:extLst>
              <a:ext uri="{FF2B5EF4-FFF2-40B4-BE49-F238E27FC236}">
                <a16:creationId xmlns:a16="http://schemas.microsoft.com/office/drawing/2014/main" id="{EA085B8E-3B58-4E13-8FDB-B560BFA3FC27}"/>
              </a:ext>
            </a:extLst>
          </p:cNvPr>
          <p:cNvCxnSpPr>
            <a:cxnSpLocks/>
          </p:cNvCxnSpPr>
          <p:nvPr/>
        </p:nvCxnSpPr>
        <p:spPr>
          <a:xfrm>
            <a:off x="4144079" y="1522854"/>
            <a:ext cx="0" cy="450000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73" name="TextBox 172">
            <a:extLst>
              <a:ext uri="{FF2B5EF4-FFF2-40B4-BE49-F238E27FC236}">
                <a16:creationId xmlns:a16="http://schemas.microsoft.com/office/drawing/2014/main" id="{D93FCAB7-2BFC-445D-8BAD-2AEE7ABC10E7}"/>
              </a:ext>
            </a:extLst>
          </p:cNvPr>
          <p:cNvSpPr txBox="1"/>
          <p:nvPr/>
        </p:nvSpPr>
        <p:spPr>
          <a:xfrm>
            <a:off x="549726" y="3712720"/>
            <a:ext cx="3276175" cy="1800493"/>
          </a:xfrm>
          <a:prstGeom prst="rect">
            <a:avLst/>
          </a:prstGeom>
          <a:noFill/>
        </p:spPr>
        <p:txBody>
          <a:bodyPr wrap="square" lIns="0" tIns="0" rIns="0" bIns="0">
            <a:spAutoFit/>
          </a:bodyPr>
          <a:lstStyle/>
          <a:p>
            <a:pPr>
              <a:buClr>
                <a:schemeClr val="accent1"/>
              </a:buClr>
            </a:pPr>
            <a:r>
              <a:rPr lang="en-SG" b="1" spc="-27" dirty="0">
                <a:solidFill>
                  <a:schemeClr val="accent1"/>
                </a:solidFill>
                <a:latin typeface="Century Gothic" panose="020B0502020202020204" pitchFamily="34" charset="0"/>
              </a:rPr>
              <a:t>Project Marketplace</a:t>
            </a:r>
          </a:p>
          <a:p>
            <a:pPr lvl="0">
              <a:buClr>
                <a:schemeClr val="accent1"/>
              </a:buClr>
            </a:pPr>
            <a:endParaRPr lang="en-GB" sz="1100" dirty="0"/>
          </a:p>
          <a:p>
            <a:pPr lvl="0">
              <a:buClr>
                <a:schemeClr val="accent1"/>
              </a:buClr>
            </a:pPr>
            <a:r>
              <a:rPr lang="en-US" sz="1100" dirty="0"/>
              <a:t>Browse, compare and buy carbon credits directly from a curated selection of risk-rated projects, with transparent data on SDG impacts and performance. </a:t>
            </a:r>
          </a:p>
          <a:p>
            <a:pPr lvl="0">
              <a:buClr>
                <a:schemeClr val="accent1"/>
              </a:buClr>
            </a:pPr>
            <a:endParaRPr lang="en-US" sz="1100" dirty="0"/>
          </a:p>
          <a:p>
            <a:pPr lvl="0">
              <a:buClr>
                <a:schemeClr val="accent1"/>
              </a:buClr>
            </a:pPr>
            <a:r>
              <a:rPr lang="en-US" sz="1100" b="1" dirty="0"/>
              <a:t>PRIMARY TARGETS</a:t>
            </a:r>
          </a:p>
          <a:p>
            <a:pPr lvl="0">
              <a:buClr>
                <a:schemeClr val="accent1"/>
              </a:buClr>
            </a:pPr>
            <a:r>
              <a:rPr lang="en-US" sz="1100" dirty="0"/>
              <a:t>Corporates</a:t>
            </a:r>
          </a:p>
          <a:p>
            <a:pPr lvl="0">
              <a:buClr>
                <a:schemeClr val="accent1"/>
              </a:buClr>
            </a:pPr>
            <a:endParaRPr lang="en-GB" sz="1100" dirty="0"/>
          </a:p>
        </p:txBody>
      </p:sp>
      <p:sp>
        <p:nvSpPr>
          <p:cNvPr id="174" name="TextBox 173">
            <a:extLst>
              <a:ext uri="{FF2B5EF4-FFF2-40B4-BE49-F238E27FC236}">
                <a16:creationId xmlns:a16="http://schemas.microsoft.com/office/drawing/2014/main" id="{6F5FC3D0-F2EB-4405-9C77-E9C16A3FFC31}"/>
              </a:ext>
            </a:extLst>
          </p:cNvPr>
          <p:cNvSpPr txBox="1"/>
          <p:nvPr/>
        </p:nvSpPr>
        <p:spPr>
          <a:xfrm>
            <a:off x="4598938" y="3712720"/>
            <a:ext cx="3276175" cy="2139047"/>
          </a:xfrm>
          <a:prstGeom prst="rect">
            <a:avLst/>
          </a:prstGeom>
          <a:noFill/>
        </p:spPr>
        <p:txBody>
          <a:bodyPr wrap="square" lIns="0" tIns="0" rIns="0" bIns="0">
            <a:spAutoFit/>
          </a:bodyPr>
          <a:lstStyle/>
          <a:p>
            <a:pPr>
              <a:buClr>
                <a:schemeClr val="accent1"/>
              </a:buClr>
            </a:pPr>
            <a:r>
              <a:rPr lang="en-US" b="1" spc="-27" dirty="0">
                <a:solidFill>
                  <a:schemeClr val="accent1"/>
                </a:solidFill>
                <a:latin typeface="Century Gothic" panose="020B0502020202020204" pitchFamily="34" charset="0"/>
              </a:rPr>
              <a:t>Auctions</a:t>
            </a:r>
          </a:p>
          <a:p>
            <a:pPr lvl="0">
              <a:buClr>
                <a:schemeClr val="accent1"/>
              </a:buClr>
            </a:pPr>
            <a:endParaRPr lang="en-US" sz="1100" dirty="0"/>
          </a:p>
          <a:p>
            <a:pPr lvl="0">
              <a:buClr>
                <a:schemeClr val="accent1"/>
              </a:buClr>
            </a:pPr>
            <a:r>
              <a:rPr lang="en-US" sz="1100" dirty="0"/>
              <a:t>Discover the fair market value of newly-issued carbon credits through flexible auctions designed by CIX. Also ideal for sector-based portfolios and large government tenders.</a:t>
            </a:r>
          </a:p>
          <a:p>
            <a:pPr lvl="0">
              <a:buClr>
                <a:schemeClr val="accent1"/>
              </a:buClr>
            </a:pPr>
            <a:endParaRPr lang="en-US" sz="1100" dirty="0"/>
          </a:p>
          <a:p>
            <a:pPr lvl="0">
              <a:buClr>
                <a:schemeClr val="accent1"/>
              </a:buClr>
            </a:pPr>
            <a:r>
              <a:rPr lang="en-US" sz="1100" b="1" dirty="0"/>
              <a:t>PRIMARY TARGETS</a:t>
            </a:r>
          </a:p>
          <a:p>
            <a:pPr lvl="0">
              <a:buClr>
                <a:schemeClr val="accent1"/>
              </a:buClr>
            </a:pPr>
            <a:r>
              <a:rPr lang="en-US" sz="1100" dirty="0"/>
              <a:t>Financial investors</a:t>
            </a:r>
          </a:p>
          <a:p>
            <a:pPr lvl="0">
              <a:buClr>
                <a:schemeClr val="accent1"/>
              </a:buClr>
            </a:pPr>
            <a:r>
              <a:rPr lang="en-US" sz="1100" dirty="0"/>
              <a:t>Commodity traders</a:t>
            </a:r>
          </a:p>
          <a:p>
            <a:pPr lvl="0">
              <a:buClr>
                <a:schemeClr val="accent1"/>
              </a:buClr>
            </a:pPr>
            <a:r>
              <a:rPr lang="en-US" sz="1100" dirty="0"/>
              <a:t>Corporates</a:t>
            </a:r>
          </a:p>
          <a:p>
            <a:pPr lvl="0">
              <a:buClr>
                <a:schemeClr val="accent1"/>
              </a:buClr>
            </a:pPr>
            <a:endParaRPr lang="en-US" sz="1100" dirty="0"/>
          </a:p>
        </p:txBody>
      </p:sp>
      <p:sp>
        <p:nvSpPr>
          <p:cNvPr id="175" name="TextBox 174">
            <a:extLst>
              <a:ext uri="{FF2B5EF4-FFF2-40B4-BE49-F238E27FC236}">
                <a16:creationId xmlns:a16="http://schemas.microsoft.com/office/drawing/2014/main" id="{5960C284-41CA-4362-9E49-46254F4809A3}"/>
              </a:ext>
            </a:extLst>
          </p:cNvPr>
          <p:cNvSpPr txBox="1"/>
          <p:nvPr/>
        </p:nvSpPr>
        <p:spPr>
          <a:xfrm>
            <a:off x="8530120" y="3712720"/>
            <a:ext cx="3189386" cy="2139047"/>
          </a:xfrm>
          <a:prstGeom prst="rect">
            <a:avLst/>
          </a:prstGeom>
          <a:noFill/>
        </p:spPr>
        <p:txBody>
          <a:bodyPr wrap="square" lIns="0" tIns="0" rIns="0" bIns="0">
            <a:spAutoFit/>
          </a:bodyPr>
          <a:lstStyle/>
          <a:p>
            <a:pPr>
              <a:buClr>
                <a:schemeClr val="accent1"/>
              </a:buClr>
            </a:pPr>
            <a:r>
              <a:rPr lang="en-US" b="1" spc="-27" dirty="0">
                <a:solidFill>
                  <a:schemeClr val="accent1"/>
                </a:solidFill>
                <a:latin typeface="Century Gothic" panose="020B0502020202020204" pitchFamily="34" charset="0"/>
              </a:rPr>
              <a:t>Exchange </a:t>
            </a:r>
          </a:p>
          <a:p>
            <a:pPr>
              <a:buClr>
                <a:schemeClr val="accent1"/>
              </a:buClr>
            </a:pPr>
            <a:endParaRPr lang="en-US" sz="1100" dirty="0"/>
          </a:p>
          <a:p>
            <a:pPr>
              <a:buClr>
                <a:schemeClr val="accent1"/>
              </a:buClr>
            </a:pPr>
            <a:r>
              <a:rPr lang="en-US" sz="1100" dirty="0"/>
              <a:t>Trade high-quality </a:t>
            </a:r>
            <a:r>
              <a:rPr lang="en-US" sz="1100" dirty="0" err="1"/>
              <a:t>standardised</a:t>
            </a:r>
            <a:r>
              <a:rPr lang="en-US" sz="1100" dirty="0"/>
              <a:t> carbon credit contracts that are aligned with leading global standards, with transparent price signals and real-time market data. </a:t>
            </a:r>
          </a:p>
          <a:p>
            <a:pPr>
              <a:buClr>
                <a:schemeClr val="accent1"/>
              </a:buClr>
            </a:pPr>
            <a:endParaRPr lang="en-US" sz="1100" dirty="0"/>
          </a:p>
          <a:p>
            <a:pPr>
              <a:buClr>
                <a:schemeClr val="accent1"/>
              </a:buClr>
            </a:pPr>
            <a:r>
              <a:rPr lang="en-US" sz="1100" b="1" dirty="0"/>
              <a:t>PRIMARY TARGETS</a:t>
            </a:r>
          </a:p>
          <a:p>
            <a:pPr>
              <a:buClr>
                <a:schemeClr val="accent1"/>
              </a:buClr>
            </a:pPr>
            <a:r>
              <a:rPr lang="en-US" sz="1100" dirty="0"/>
              <a:t>Financial investors</a:t>
            </a:r>
          </a:p>
          <a:p>
            <a:pPr>
              <a:buClr>
                <a:schemeClr val="accent1"/>
              </a:buClr>
            </a:pPr>
            <a:r>
              <a:rPr lang="en-US" sz="1100" dirty="0"/>
              <a:t>Commodity traders</a:t>
            </a:r>
          </a:p>
          <a:p>
            <a:pPr>
              <a:buClr>
                <a:schemeClr val="accent1"/>
              </a:buClr>
            </a:pPr>
            <a:endParaRPr lang="en-US" sz="1100" dirty="0"/>
          </a:p>
          <a:p>
            <a:pPr lvl="0">
              <a:buClr>
                <a:schemeClr val="accent1"/>
              </a:buClr>
            </a:pPr>
            <a:endParaRPr lang="en-US" sz="1100" b="1" dirty="0">
              <a:latin typeface="Century Gothic" panose="020B0502020202020204" pitchFamily="34" charset="0"/>
            </a:endParaRPr>
          </a:p>
        </p:txBody>
      </p:sp>
      <p:cxnSp>
        <p:nvCxnSpPr>
          <p:cNvPr id="176" name="Straight Connector 175">
            <a:extLst>
              <a:ext uri="{FF2B5EF4-FFF2-40B4-BE49-F238E27FC236}">
                <a16:creationId xmlns:a16="http://schemas.microsoft.com/office/drawing/2014/main" id="{09B50B42-5B04-478B-9117-B32BE2C867F1}"/>
              </a:ext>
            </a:extLst>
          </p:cNvPr>
          <p:cNvCxnSpPr>
            <a:cxnSpLocks/>
          </p:cNvCxnSpPr>
          <p:nvPr/>
        </p:nvCxnSpPr>
        <p:spPr>
          <a:xfrm>
            <a:off x="8172069" y="1495307"/>
            <a:ext cx="0" cy="450000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744E72D0-4F73-4B65-A624-A5E7B7136C01}"/>
              </a:ext>
            </a:extLst>
          </p:cNvPr>
          <p:cNvSpPr>
            <a:spLocks noGrp="1"/>
          </p:cNvSpPr>
          <p:nvPr>
            <p:ph type="body" sz="quarter" idx="51"/>
          </p:nvPr>
        </p:nvSpPr>
        <p:spPr>
          <a:xfrm>
            <a:off x="359999" y="1141724"/>
            <a:ext cx="11160000" cy="217560"/>
          </a:xfrm>
        </p:spPr>
        <p:txBody>
          <a:bodyPr/>
          <a:lstStyle/>
          <a:p>
            <a:r>
              <a:rPr lang="en-US" sz="1400" b="1" dirty="0"/>
              <a:t>We build trust in existing quality credits, bring new credit types to market and help scale the next wave of impactful solutions </a:t>
            </a:r>
          </a:p>
        </p:txBody>
      </p:sp>
      <p:sp>
        <p:nvSpPr>
          <p:cNvPr id="14" name="Oval 13">
            <a:extLst>
              <a:ext uri="{FF2B5EF4-FFF2-40B4-BE49-F238E27FC236}">
                <a16:creationId xmlns:a16="http://schemas.microsoft.com/office/drawing/2014/main" id="{360D6E6E-CDF3-3FDA-C22E-EAC406616071}"/>
              </a:ext>
            </a:extLst>
          </p:cNvPr>
          <p:cNvSpPr/>
          <p:nvPr/>
        </p:nvSpPr>
        <p:spPr>
          <a:xfrm>
            <a:off x="3031944" y="1514163"/>
            <a:ext cx="783303" cy="78330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t>Now Live!</a:t>
            </a:r>
          </a:p>
        </p:txBody>
      </p:sp>
      <p:sp>
        <p:nvSpPr>
          <p:cNvPr id="15" name="Oval 14">
            <a:extLst>
              <a:ext uri="{FF2B5EF4-FFF2-40B4-BE49-F238E27FC236}">
                <a16:creationId xmlns:a16="http://schemas.microsoft.com/office/drawing/2014/main" id="{820C69B4-58BF-6A0D-220F-93C4D884F9C7}"/>
              </a:ext>
            </a:extLst>
          </p:cNvPr>
          <p:cNvSpPr/>
          <p:nvPr/>
        </p:nvSpPr>
        <p:spPr>
          <a:xfrm>
            <a:off x="7098813" y="1488002"/>
            <a:ext cx="783303" cy="78330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p>
          <a:p>
            <a:pPr algn="ctr"/>
            <a:r>
              <a:rPr lang="en-GB" sz="1200" dirty="0"/>
              <a:t>Q3 2022</a:t>
            </a:r>
            <a:endParaRPr lang="en-GB" sz="700" dirty="0"/>
          </a:p>
        </p:txBody>
      </p:sp>
      <p:sp>
        <p:nvSpPr>
          <p:cNvPr id="3" name="TextBox 2">
            <a:extLst>
              <a:ext uri="{FF2B5EF4-FFF2-40B4-BE49-F238E27FC236}">
                <a16:creationId xmlns:a16="http://schemas.microsoft.com/office/drawing/2014/main" id="{E6EFAE04-17CA-BFF2-09C3-D374C3ED1876}"/>
              </a:ext>
            </a:extLst>
          </p:cNvPr>
          <p:cNvSpPr txBox="1"/>
          <p:nvPr/>
        </p:nvSpPr>
        <p:spPr>
          <a:xfrm>
            <a:off x="7091811" y="1623457"/>
            <a:ext cx="783302" cy="130805"/>
          </a:xfrm>
          <a:prstGeom prst="rect">
            <a:avLst/>
          </a:prstGeom>
          <a:noFill/>
        </p:spPr>
        <p:txBody>
          <a:bodyPr wrap="square" lIns="0" tIns="0" rIns="0" bIns="0" rtlCol="0">
            <a:spAutoFit/>
          </a:bodyPr>
          <a:lstStyle/>
          <a:p>
            <a:pPr algn="ctr"/>
            <a:r>
              <a:rPr lang="en-US" sz="850" dirty="0">
                <a:solidFill>
                  <a:schemeClr val="bg1"/>
                </a:solidFill>
              </a:rPr>
              <a:t>Auction in:</a:t>
            </a:r>
            <a:endParaRPr lang="en-GB" sz="850" dirty="0" err="1">
              <a:solidFill>
                <a:schemeClr val="bg1"/>
              </a:solidFill>
            </a:endParaRPr>
          </a:p>
        </p:txBody>
      </p:sp>
      <p:pic>
        <p:nvPicPr>
          <p:cNvPr id="6" name="Picture 5" descr="Qr code&#10;&#10;Description automatically generated">
            <a:extLst>
              <a:ext uri="{FF2B5EF4-FFF2-40B4-BE49-F238E27FC236}">
                <a16:creationId xmlns:a16="http://schemas.microsoft.com/office/drawing/2014/main" id="{AF5EBB46-2EA3-80AC-A765-90AA5FB51AF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734174" y="5051261"/>
            <a:ext cx="1319963" cy="1641154"/>
          </a:xfrm>
          <a:prstGeom prst="rect">
            <a:avLst/>
          </a:prstGeom>
        </p:spPr>
      </p:pic>
      <p:sp>
        <p:nvSpPr>
          <p:cNvPr id="7" name="TextBox 6">
            <a:extLst>
              <a:ext uri="{FF2B5EF4-FFF2-40B4-BE49-F238E27FC236}">
                <a16:creationId xmlns:a16="http://schemas.microsoft.com/office/drawing/2014/main" id="{AA5A4396-E7BB-40F8-0DC4-8AA4F55CC33F}"/>
              </a:ext>
            </a:extLst>
          </p:cNvPr>
          <p:cNvSpPr txBox="1"/>
          <p:nvPr/>
        </p:nvSpPr>
        <p:spPr>
          <a:xfrm>
            <a:off x="4201229" y="6508552"/>
            <a:ext cx="2496822" cy="153888"/>
          </a:xfrm>
          <a:prstGeom prst="rect">
            <a:avLst/>
          </a:prstGeom>
          <a:noFill/>
        </p:spPr>
        <p:txBody>
          <a:bodyPr wrap="square" lIns="0" tIns="0" rIns="0" bIns="0" rtlCol="0">
            <a:spAutoFit/>
          </a:bodyPr>
          <a:lstStyle/>
          <a:p>
            <a:pPr algn="r"/>
            <a:r>
              <a:rPr lang="en-US" sz="1000" i="1" dirty="0">
                <a:solidFill>
                  <a:schemeClr val="bg1">
                    <a:lumMod val="50000"/>
                  </a:schemeClr>
                </a:solidFill>
              </a:rPr>
              <a:t>Register for our Q3 2022 auction here!</a:t>
            </a:r>
            <a:endParaRPr lang="en-GB" sz="1000" i="1" dirty="0" err="1">
              <a:solidFill>
                <a:schemeClr val="bg1">
                  <a:lumMod val="50000"/>
                </a:schemeClr>
              </a:solidFill>
            </a:endParaRPr>
          </a:p>
        </p:txBody>
      </p:sp>
    </p:spTree>
    <p:extLst>
      <p:ext uri="{BB962C8B-B14F-4D97-AF65-F5344CB8AC3E}">
        <p14:creationId xmlns:p14="http://schemas.microsoft.com/office/powerpoint/2010/main" val="39551372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983998C-714B-5949-BEFC-BF153BE2F51D}"/>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16" name="Rectangle 15">
            <a:extLst>
              <a:ext uri="{FF2B5EF4-FFF2-40B4-BE49-F238E27FC236}">
                <a16:creationId xmlns:a16="http://schemas.microsoft.com/office/drawing/2014/main" id="{38B1C098-0AFD-5781-00AC-DCC350630306}"/>
              </a:ext>
            </a:extLst>
          </p:cNvPr>
          <p:cNvSpPr/>
          <p:nvPr/>
        </p:nvSpPr>
        <p:spPr>
          <a:xfrm>
            <a:off x="5134" y="0"/>
            <a:ext cx="12192000" cy="6858000"/>
          </a:xfrm>
          <a:prstGeom prst="rect">
            <a:avLst/>
          </a:prstGeom>
          <a:solidFill>
            <a:schemeClr val="accent1">
              <a:lumMod val="50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rgbClr val="134380"/>
              </a:solidFill>
            </a:endParaRPr>
          </a:p>
        </p:txBody>
      </p:sp>
      <p:pic>
        <p:nvPicPr>
          <p:cNvPr id="11" name="Graphic 10">
            <a:extLst>
              <a:ext uri="{FF2B5EF4-FFF2-40B4-BE49-F238E27FC236}">
                <a16:creationId xmlns:a16="http://schemas.microsoft.com/office/drawing/2014/main" id="{420A882D-5640-C445-BE32-02729C37616B}"/>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790000" y="180000"/>
            <a:ext cx="233304" cy="233273"/>
          </a:xfrm>
          <a:prstGeom prst="rect">
            <a:avLst/>
          </a:prstGeom>
        </p:spPr>
      </p:pic>
      <p:pic>
        <p:nvPicPr>
          <p:cNvPr id="10" name="Picture 9">
            <a:extLst>
              <a:ext uri="{FF2B5EF4-FFF2-40B4-BE49-F238E27FC236}">
                <a16:creationId xmlns:a16="http://schemas.microsoft.com/office/drawing/2014/main" id="{3C3AB8CF-0668-7F42-B2F8-C4F65020941E}"/>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t="43922" r="43527"/>
          <a:stretch/>
        </p:blipFill>
        <p:spPr>
          <a:xfrm rot="16200000">
            <a:off x="-86828" y="-15816"/>
            <a:ext cx="3507150" cy="3496879"/>
          </a:xfrm>
          <a:prstGeom prst="rect">
            <a:avLst/>
          </a:prstGeom>
        </p:spPr>
      </p:pic>
      <p:pic>
        <p:nvPicPr>
          <p:cNvPr id="12" name="Picture 11">
            <a:extLst>
              <a:ext uri="{FF2B5EF4-FFF2-40B4-BE49-F238E27FC236}">
                <a16:creationId xmlns:a16="http://schemas.microsoft.com/office/drawing/2014/main" id="{FAFDC071-8AB5-734A-B46F-C1600F3C1D5A}"/>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l="128" t="20230" b="18470"/>
          <a:stretch/>
        </p:blipFill>
        <p:spPr>
          <a:xfrm>
            <a:off x="9636906" y="5628158"/>
            <a:ext cx="2538456" cy="1346194"/>
          </a:xfrm>
          <a:prstGeom prst="rect">
            <a:avLst/>
          </a:prstGeom>
        </p:spPr>
      </p:pic>
      <p:sp>
        <p:nvSpPr>
          <p:cNvPr id="17" name="Rounded Rectangle 15">
            <a:extLst>
              <a:ext uri="{FF2B5EF4-FFF2-40B4-BE49-F238E27FC236}">
                <a16:creationId xmlns:a16="http://schemas.microsoft.com/office/drawing/2014/main" id="{0657A398-8E2A-6184-0890-8A37559C6571}"/>
              </a:ext>
            </a:extLst>
          </p:cNvPr>
          <p:cNvSpPr/>
          <p:nvPr/>
        </p:nvSpPr>
        <p:spPr>
          <a:xfrm>
            <a:off x="274928" y="2536450"/>
            <a:ext cx="2783638" cy="1550956"/>
          </a:xfrm>
          <a:prstGeom prst="roundRect">
            <a:avLst>
              <a:gd name="adj" fmla="val 4194"/>
            </a:avLst>
          </a:prstGeom>
          <a:solidFill>
            <a:schemeClr val="accent1">
              <a:lumMod val="20000"/>
              <a:lumOff val="80000"/>
            </a:schemeClr>
          </a:solidFill>
          <a:ln w="12700" cap="flat" cmpd="sng" algn="ctr">
            <a:solidFill>
              <a:schemeClr val="accent1"/>
            </a:solidFill>
            <a:prstDash val="solid"/>
            <a:miter lim="800000"/>
          </a:ln>
          <a:effectLst/>
        </p:spPr>
        <p:txBody>
          <a:bodyPr lIns="180000" tIns="180000" rIns="180000" bIns="180000" rtlCol="0" anchor="t"/>
          <a:lstStyle/>
          <a:p>
            <a:pPr algn="ctr">
              <a:lnSpc>
                <a:spcPct val="110000"/>
              </a:lnSpc>
              <a:buClrTx/>
            </a:pPr>
            <a:r>
              <a:rPr lang="en-GB" sz="1400">
                <a:solidFill>
                  <a:schemeClr val="tx1"/>
                </a:solidFill>
                <a:latin typeface="Century Gothic" panose="020B0502020202020204" pitchFamily="34" charset="0"/>
              </a:rPr>
              <a:t>CIX curates a wide variety of carbon credits that meet </a:t>
            </a:r>
            <a:r>
              <a:rPr lang="en-GB" sz="1400" b="1">
                <a:solidFill>
                  <a:schemeClr val="tx1"/>
                </a:solidFill>
                <a:latin typeface="Century Gothic" panose="020B0502020202020204" pitchFamily="34" charset="0"/>
              </a:rPr>
              <a:t>high quality standards</a:t>
            </a:r>
            <a:endParaRPr lang="en-AU" sz="1400">
              <a:solidFill>
                <a:schemeClr val="tx1"/>
              </a:solidFill>
              <a:latin typeface="Century Gothic" panose="020B0502020202020204" pitchFamily="34" charset="0"/>
              <a:ea typeface="Century Gothic"/>
              <a:cs typeface="Century Gothic"/>
              <a:sym typeface="Century Gothic"/>
            </a:endParaRPr>
          </a:p>
          <a:p>
            <a:pPr algn="ctr">
              <a:lnSpc>
                <a:spcPct val="110000"/>
              </a:lnSpc>
              <a:buClrTx/>
            </a:pPr>
            <a:endParaRPr lang="en-AU" sz="1400">
              <a:solidFill>
                <a:schemeClr val="tx1"/>
              </a:solidFill>
              <a:latin typeface="Century Gothic" panose="020B0502020202020204" pitchFamily="34" charset="0"/>
              <a:ea typeface="Century Gothic"/>
              <a:cs typeface="Century Gothic"/>
              <a:sym typeface="Century Gothic"/>
            </a:endParaRPr>
          </a:p>
        </p:txBody>
      </p:sp>
      <p:sp>
        <p:nvSpPr>
          <p:cNvPr id="18" name="Rounded Rectangle 16">
            <a:extLst>
              <a:ext uri="{FF2B5EF4-FFF2-40B4-BE49-F238E27FC236}">
                <a16:creationId xmlns:a16="http://schemas.microsoft.com/office/drawing/2014/main" id="{A382D904-AF77-B559-2079-DCA00B48448F}"/>
              </a:ext>
            </a:extLst>
          </p:cNvPr>
          <p:cNvSpPr/>
          <p:nvPr/>
        </p:nvSpPr>
        <p:spPr>
          <a:xfrm>
            <a:off x="3227858" y="2533637"/>
            <a:ext cx="2783638" cy="1560808"/>
          </a:xfrm>
          <a:prstGeom prst="roundRect">
            <a:avLst>
              <a:gd name="adj" fmla="val 4194"/>
            </a:avLst>
          </a:prstGeom>
          <a:solidFill>
            <a:schemeClr val="accent1">
              <a:lumMod val="20000"/>
              <a:lumOff val="80000"/>
            </a:schemeClr>
          </a:solidFill>
          <a:ln w="12700" cap="flat" cmpd="sng" algn="ctr">
            <a:solidFill>
              <a:schemeClr val="accent1"/>
            </a:solidFill>
            <a:prstDash val="solid"/>
            <a:miter lim="800000"/>
          </a:ln>
          <a:effectLst/>
        </p:spPr>
        <p:txBody>
          <a:bodyPr lIns="180000" tIns="180000" rIns="180000" bIns="180000" rtlCol="0" anchor="t"/>
          <a:lstStyle/>
          <a:p>
            <a:pPr algn="ctr">
              <a:lnSpc>
                <a:spcPct val="110000"/>
              </a:lnSpc>
              <a:buClrTx/>
              <a:defRPr/>
            </a:pPr>
            <a:r>
              <a:rPr lang="en-GB" sz="1400">
                <a:solidFill>
                  <a:schemeClr val="tx1"/>
                </a:solidFill>
                <a:latin typeface="Century Gothic" panose="020B0502020202020204" pitchFamily="34" charset="0"/>
              </a:rPr>
              <a:t>CIX builds </a:t>
            </a:r>
            <a:r>
              <a:rPr lang="en-GB" sz="1400" b="1">
                <a:solidFill>
                  <a:schemeClr val="tx1"/>
                </a:solidFill>
                <a:latin typeface="Century Gothic" panose="020B0502020202020204" pitchFamily="34" charset="0"/>
              </a:rPr>
              <a:t>exchange-grade systems </a:t>
            </a:r>
            <a:r>
              <a:rPr lang="en-GB" sz="1400">
                <a:solidFill>
                  <a:schemeClr val="tx1"/>
                </a:solidFill>
                <a:latin typeface="Century Gothic" panose="020B0502020202020204" pitchFamily="34" charset="0"/>
              </a:rPr>
              <a:t>and operates easy-to-use platforms</a:t>
            </a:r>
          </a:p>
          <a:p>
            <a:pPr algn="ctr">
              <a:lnSpc>
                <a:spcPct val="110000"/>
              </a:lnSpc>
              <a:buClrTx/>
              <a:defRPr/>
            </a:pPr>
            <a:endParaRPr lang="en-GB" sz="1400">
              <a:solidFill>
                <a:schemeClr val="tx1"/>
              </a:solidFill>
              <a:latin typeface="Century Gothic" panose="020B0502020202020204" pitchFamily="34" charset="0"/>
            </a:endParaRPr>
          </a:p>
        </p:txBody>
      </p:sp>
      <p:sp>
        <p:nvSpPr>
          <p:cNvPr id="19" name="Rounded Rectangle 17">
            <a:extLst>
              <a:ext uri="{FF2B5EF4-FFF2-40B4-BE49-F238E27FC236}">
                <a16:creationId xmlns:a16="http://schemas.microsoft.com/office/drawing/2014/main" id="{B0BBB367-636C-F97E-701E-620A2103AA05}"/>
              </a:ext>
            </a:extLst>
          </p:cNvPr>
          <p:cNvSpPr/>
          <p:nvPr/>
        </p:nvSpPr>
        <p:spPr>
          <a:xfrm>
            <a:off x="9133718" y="2528866"/>
            <a:ext cx="2783638" cy="1564703"/>
          </a:xfrm>
          <a:prstGeom prst="roundRect">
            <a:avLst>
              <a:gd name="adj" fmla="val 2947"/>
            </a:avLst>
          </a:prstGeom>
          <a:solidFill>
            <a:schemeClr val="accent1">
              <a:lumMod val="20000"/>
              <a:lumOff val="80000"/>
            </a:schemeClr>
          </a:solidFill>
          <a:ln w="12700" cap="flat" cmpd="sng" algn="ctr">
            <a:solidFill>
              <a:schemeClr val="accent1"/>
            </a:solidFill>
            <a:prstDash val="solid"/>
            <a:miter lim="800000"/>
          </a:ln>
          <a:effectLst/>
        </p:spPr>
        <p:txBody>
          <a:bodyPr lIns="180000" tIns="180000" rIns="180000" bIns="180000" rtlCol="0" anchor="t"/>
          <a:lstStyle/>
          <a:p>
            <a:pPr algn="ctr">
              <a:lnSpc>
                <a:spcPct val="110000"/>
              </a:lnSpc>
              <a:buClrTx/>
              <a:defRPr/>
            </a:pPr>
            <a:r>
              <a:rPr lang="en-GB" sz="1400">
                <a:solidFill>
                  <a:schemeClr val="tx1"/>
                </a:solidFill>
                <a:latin typeface="Century Gothic" panose="020B0502020202020204" pitchFamily="34" charset="0"/>
              </a:rPr>
              <a:t>CIX works with an ecosystem of partners to provide </a:t>
            </a:r>
            <a:r>
              <a:rPr lang="en-GB" sz="1400" b="1">
                <a:solidFill>
                  <a:schemeClr val="tx1"/>
                </a:solidFill>
                <a:latin typeface="Century Gothic" panose="020B0502020202020204" pitchFamily="34" charset="0"/>
              </a:rPr>
              <a:t>transparent data on carbon project risk and performance</a:t>
            </a:r>
            <a:endParaRPr lang="en-GB" sz="1400" b="1">
              <a:solidFill>
                <a:schemeClr val="tx1"/>
              </a:solidFill>
              <a:latin typeface="Century Gothic" panose="020B0502020202020204" pitchFamily="34" charset="0"/>
              <a:sym typeface="Century Gothic"/>
            </a:endParaRPr>
          </a:p>
          <a:p>
            <a:pPr algn="ctr">
              <a:lnSpc>
                <a:spcPct val="110000"/>
              </a:lnSpc>
              <a:buClrTx/>
              <a:defRPr/>
            </a:pPr>
            <a:endParaRPr lang="en-GB" sz="1400" b="1">
              <a:solidFill>
                <a:schemeClr val="tx1"/>
              </a:solidFill>
              <a:latin typeface="Century Gothic" panose="020B0502020202020204" pitchFamily="34" charset="0"/>
            </a:endParaRPr>
          </a:p>
        </p:txBody>
      </p:sp>
      <p:sp>
        <p:nvSpPr>
          <p:cNvPr id="20" name="Rounded Rectangle 18">
            <a:extLst>
              <a:ext uri="{FF2B5EF4-FFF2-40B4-BE49-F238E27FC236}">
                <a16:creationId xmlns:a16="http://schemas.microsoft.com/office/drawing/2014/main" id="{6CFCB7ED-DF78-D05C-F0D0-E92934E83585}"/>
              </a:ext>
            </a:extLst>
          </p:cNvPr>
          <p:cNvSpPr/>
          <p:nvPr/>
        </p:nvSpPr>
        <p:spPr>
          <a:xfrm>
            <a:off x="6180788" y="2533637"/>
            <a:ext cx="2783638" cy="1560810"/>
          </a:xfrm>
          <a:prstGeom prst="roundRect">
            <a:avLst>
              <a:gd name="adj" fmla="val 3363"/>
            </a:avLst>
          </a:prstGeom>
          <a:solidFill>
            <a:schemeClr val="accent1">
              <a:lumMod val="20000"/>
              <a:lumOff val="80000"/>
            </a:schemeClr>
          </a:solidFill>
          <a:ln w="12700" cap="flat" cmpd="sng" algn="ctr">
            <a:solidFill>
              <a:schemeClr val="accent1"/>
            </a:solidFill>
            <a:prstDash val="solid"/>
            <a:miter lim="800000"/>
          </a:ln>
          <a:effectLst/>
        </p:spPr>
        <p:txBody>
          <a:bodyPr lIns="180000" tIns="180000" rIns="180000" bIns="180000" rtlCol="0" anchor="t"/>
          <a:lstStyle/>
          <a:p>
            <a:pPr algn="ctr">
              <a:lnSpc>
                <a:spcPct val="110000"/>
              </a:lnSpc>
              <a:buClrTx/>
              <a:defRPr/>
            </a:pPr>
            <a:r>
              <a:rPr lang="en-GB" sz="1400">
                <a:solidFill>
                  <a:schemeClr val="tx1"/>
                </a:solidFill>
                <a:latin typeface="Century Gothic" panose="020B0502020202020204" pitchFamily="34" charset="0"/>
              </a:rPr>
              <a:t>CIX is </a:t>
            </a:r>
            <a:r>
              <a:rPr lang="en-GB" sz="1400" b="1">
                <a:solidFill>
                  <a:schemeClr val="tx1"/>
                </a:solidFill>
                <a:latin typeface="Century Gothic" panose="020B0502020202020204" pitchFamily="34" charset="0"/>
              </a:rPr>
              <a:t>building a community of high integrity buyers and suppliers</a:t>
            </a:r>
            <a:r>
              <a:rPr lang="en-GB" sz="1400">
                <a:solidFill>
                  <a:schemeClr val="tx1"/>
                </a:solidFill>
                <a:latin typeface="Century Gothic" panose="020B0502020202020204" pitchFamily="34" charset="0"/>
              </a:rPr>
              <a:t> </a:t>
            </a:r>
            <a:r>
              <a:rPr lang="en-GB" sz="1400">
                <a:latin typeface="Century Gothic" panose="020B0502020202020204" pitchFamily="34" charset="0"/>
              </a:rPr>
              <a:t>that advocate for </a:t>
            </a:r>
            <a:r>
              <a:rPr lang="en-GB" sz="1400">
                <a:solidFill>
                  <a:schemeClr val="tx1"/>
                </a:solidFill>
                <a:latin typeface="Century Gothic" panose="020B0502020202020204" pitchFamily="34" charset="0"/>
              </a:rPr>
              <a:t>the responsible use of carbon credits</a:t>
            </a:r>
          </a:p>
        </p:txBody>
      </p:sp>
      <p:sp>
        <p:nvSpPr>
          <p:cNvPr id="21" name="Google Shape;610;p27">
            <a:extLst>
              <a:ext uri="{FF2B5EF4-FFF2-40B4-BE49-F238E27FC236}">
                <a16:creationId xmlns:a16="http://schemas.microsoft.com/office/drawing/2014/main" id="{40FCC98F-AD43-7C49-C275-BE3BAF2D4AE3}"/>
              </a:ext>
            </a:extLst>
          </p:cNvPr>
          <p:cNvSpPr/>
          <p:nvPr/>
        </p:nvSpPr>
        <p:spPr>
          <a:xfrm>
            <a:off x="1195136" y="1211350"/>
            <a:ext cx="1019639" cy="206869"/>
          </a:xfrm>
          <a:prstGeom prst="rect">
            <a:avLst/>
          </a:prstGeom>
          <a:noFill/>
          <a:ln w="6350" cap="flat" cmpd="sng" algn="ctr">
            <a:noFill/>
            <a:prstDash val="solid"/>
            <a:miter lim="800000"/>
          </a:ln>
          <a:effectLst/>
        </p:spPr>
        <p:txBody>
          <a:bodyPr spcFirstLastPara="1" wrap="square" lIns="0" tIns="0" rIns="0" bIns="0" anchor="t" anchorCtr="0">
            <a:spAutoFit/>
          </a:bodyPr>
          <a:lstStyle/>
          <a:p>
            <a:pPr algn="ctr" defTabSz="1219018">
              <a:lnSpc>
                <a:spcPct val="110000"/>
              </a:lnSpc>
              <a:defRPr/>
            </a:pPr>
            <a:r>
              <a:rPr lang="en-US" sz="1200" b="1">
                <a:solidFill>
                  <a:schemeClr val="bg1"/>
                </a:solidFill>
                <a:latin typeface="Century Gothic" panose="020B0502020202020204" pitchFamily="34" charset="0"/>
                <a:sym typeface="Century Gothic"/>
              </a:rPr>
              <a:t>PRE-TRADE</a:t>
            </a:r>
          </a:p>
        </p:txBody>
      </p:sp>
      <p:cxnSp>
        <p:nvCxnSpPr>
          <p:cNvPr id="22" name="Straight Connector 21">
            <a:extLst>
              <a:ext uri="{FF2B5EF4-FFF2-40B4-BE49-F238E27FC236}">
                <a16:creationId xmlns:a16="http://schemas.microsoft.com/office/drawing/2014/main" id="{318079E2-BB5D-7EB2-250C-502CC90E3371}"/>
              </a:ext>
            </a:extLst>
          </p:cNvPr>
          <p:cNvCxnSpPr/>
          <p:nvPr/>
        </p:nvCxnSpPr>
        <p:spPr>
          <a:xfrm>
            <a:off x="319927" y="1508411"/>
            <a:ext cx="277005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Google Shape;610;p27">
            <a:extLst>
              <a:ext uri="{FF2B5EF4-FFF2-40B4-BE49-F238E27FC236}">
                <a16:creationId xmlns:a16="http://schemas.microsoft.com/office/drawing/2014/main" id="{CBA45010-0529-ECC2-B5DD-900000BEEFDC}"/>
              </a:ext>
            </a:extLst>
          </p:cNvPr>
          <p:cNvSpPr/>
          <p:nvPr/>
        </p:nvSpPr>
        <p:spPr>
          <a:xfrm>
            <a:off x="10053926" y="1208070"/>
            <a:ext cx="1019639" cy="206869"/>
          </a:xfrm>
          <a:prstGeom prst="rect">
            <a:avLst/>
          </a:prstGeom>
          <a:noFill/>
          <a:ln w="6350" cap="flat" cmpd="sng" algn="ctr">
            <a:noFill/>
            <a:prstDash val="solid"/>
            <a:miter lim="800000"/>
          </a:ln>
          <a:effectLst/>
        </p:spPr>
        <p:txBody>
          <a:bodyPr spcFirstLastPara="1" wrap="square" lIns="0" tIns="0" rIns="0" bIns="0" anchor="t" anchorCtr="0">
            <a:spAutoFit/>
          </a:bodyPr>
          <a:lstStyle/>
          <a:p>
            <a:pPr algn="ctr" defTabSz="1219018">
              <a:lnSpc>
                <a:spcPct val="110000"/>
              </a:lnSpc>
              <a:defRPr/>
            </a:pPr>
            <a:r>
              <a:rPr lang="en-US" sz="1200" b="1">
                <a:solidFill>
                  <a:schemeClr val="bg1"/>
                </a:solidFill>
                <a:latin typeface="Century Gothic" panose="020B0502020202020204" pitchFamily="34" charset="0"/>
                <a:sym typeface="Century Gothic"/>
              </a:rPr>
              <a:t>POST-TRADE</a:t>
            </a:r>
          </a:p>
        </p:txBody>
      </p:sp>
      <p:cxnSp>
        <p:nvCxnSpPr>
          <p:cNvPr id="24" name="Straight Connector 23">
            <a:extLst>
              <a:ext uri="{FF2B5EF4-FFF2-40B4-BE49-F238E27FC236}">
                <a16:creationId xmlns:a16="http://schemas.microsoft.com/office/drawing/2014/main" id="{0AAF3031-A199-8E51-3B28-6C8122340D5A}"/>
              </a:ext>
            </a:extLst>
          </p:cNvPr>
          <p:cNvCxnSpPr>
            <a:cxnSpLocks/>
          </p:cNvCxnSpPr>
          <p:nvPr/>
        </p:nvCxnSpPr>
        <p:spPr>
          <a:xfrm>
            <a:off x="9178717" y="1508411"/>
            <a:ext cx="277005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Google Shape;610;p27">
            <a:extLst>
              <a:ext uri="{FF2B5EF4-FFF2-40B4-BE49-F238E27FC236}">
                <a16:creationId xmlns:a16="http://schemas.microsoft.com/office/drawing/2014/main" id="{EA100AC5-3564-3514-2614-C0D681126653}"/>
              </a:ext>
            </a:extLst>
          </p:cNvPr>
          <p:cNvSpPr/>
          <p:nvPr/>
        </p:nvSpPr>
        <p:spPr>
          <a:xfrm>
            <a:off x="4928813" y="1216931"/>
            <a:ext cx="2334374" cy="203133"/>
          </a:xfrm>
          <a:prstGeom prst="rect">
            <a:avLst/>
          </a:prstGeom>
          <a:noFill/>
          <a:ln w="6350" cap="flat" cmpd="sng" algn="ctr">
            <a:noFill/>
            <a:prstDash val="solid"/>
            <a:miter lim="800000"/>
          </a:ln>
          <a:effectLst/>
        </p:spPr>
        <p:txBody>
          <a:bodyPr spcFirstLastPara="1" wrap="square" lIns="0" tIns="0" rIns="0" bIns="0" anchor="t" anchorCtr="0">
            <a:spAutoFit/>
          </a:bodyPr>
          <a:lstStyle/>
          <a:p>
            <a:pPr algn="ctr" defTabSz="1219018">
              <a:lnSpc>
                <a:spcPct val="110000"/>
              </a:lnSpc>
              <a:defRPr/>
            </a:pPr>
            <a:r>
              <a:rPr lang="en-US" sz="1200" b="1">
                <a:solidFill>
                  <a:schemeClr val="bg1"/>
                </a:solidFill>
                <a:latin typeface="Century Gothic" panose="020B0502020202020204" pitchFamily="34" charset="0"/>
                <a:sym typeface="Century Gothic"/>
              </a:rPr>
              <a:t>BUYING, SELLING AND TRADING</a:t>
            </a:r>
          </a:p>
        </p:txBody>
      </p:sp>
      <p:cxnSp>
        <p:nvCxnSpPr>
          <p:cNvPr id="26" name="Straight Connector 25">
            <a:extLst>
              <a:ext uri="{FF2B5EF4-FFF2-40B4-BE49-F238E27FC236}">
                <a16:creationId xmlns:a16="http://schemas.microsoft.com/office/drawing/2014/main" id="{80B8E434-2685-4E42-229E-575028934439}"/>
              </a:ext>
            </a:extLst>
          </p:cNvPr>
          <p:cNvCxnSpPr>
            <a:cxnSpLocks/>
          </p:cNvCxnSpPr>
          <p:nvPr/>
        </p:nvCxnSpPr>
        <p:spPr>
          <a:xfrm>
            <a:off x="3269019" y="1508411"/>
            <a:ext cx="572682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5" name="Left Brace 44">
            <a:extLst>
              <a:ext uri="{FF2B5EF4-FFF2-40B4-BE49-F238E27FC236}">
                <a16:creationId xmlns:a16="http://schemas.microsoft.com/office/drawing/2014/main" id="{423716E4-A081-6CCF-A761-AED62C9D64F1}"/>
              </a:ext>
            </a:extLst>
          </p:cNvPr>
          <p:cNvSpPr/>
          <p:nvPr/>
        </p:nvSpPr>
        <p:spPr>
          <a:xfrm rot="16200000">
            <a:off x="1596162" y="3014242"/>
            <a:ext cx="186169" cy="2738639"/>
          </a:xfrm>
          <a:prstGeom prst="leftBrace">
            <a:avLst>
              <a:gd name="adj1" fmla="val 0"/>
              <a:gd name="adj2" fmla="val 47950"/>
            </a:avLst>
          </a:prstGeom>
          <a:ln w="127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Left Brace 47">
            <a:extLst>
              <a:ext uri="{FF2B5EF4-FFF2-40B4-BE49-F238E27FC236}">
                <a16:creationId xmlns:a16="http://schemas.microsoft.com/office/drawing/2014/main" id="{95BEB92B-A872-D4CC-9C5B-9F5B0BE194BF}"/>
              </a:ext>
            </a:extLst>
          </p:cNvPr>
          <p:cNvSpPr/>
          <p:nvPr/>
        </p:nvSpPr>
        <p:spPr>
          <a:xfrm rot="16200000">
            <a:off x="7510303" y="38173"/>
            <a:ext cx="186169" cy="8690775"/>
          </a:xfrm>
          <a:prstGeom prst="leftBrace">
            <a:avLst>
              <a:gd name="adj1" fmla="val 0"/>
              <a:gd name="adj2" fmla="val 4230"/>
            </a:avLst>
          </a:prstGeom>
          <a:ln w="127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0" name="Title 1">
            <a:extLst>
              <a:ext uri="{FF2B5EF4-FFF2-40B4-BE49-F238E27FC236}">
                <a16:creationId xmlns:a16="http://schemas.microsoft.com/office/drawing/2014/main" id="{5BBEBC9F-49D0-9FBA-0AC6-6E3C0B3DF303}"/>
              </a:ext>
            </a:extLst>
          </p:cNvPr>
          <p:cNvSpPr>
            <a:spLocks noGrp="1"/>
          </p:cNvSpPr>
          <p:nvPr>
            <p:ph type="title"/>
          </p:nvPr>
        </p:nvSpPr>
        <p:spPr>
          <a:xfrm>
            <a:off x="0" y="450000"/>
            <a:ext cx="12186866" cy="332399"/>
          </a:xfrm>
        </p:spPr>
        <p:txBody>
          <a:bodyPr/>
          <a:lstStyle/>
          <a:p>
            <a:pPr algn="ctr"/>
            <a:r>
              <a:rPr lang="en-US">
                <a:solidFill>
                  <a:schemeClr val="bg1"/>
                </a:solidFill>
              </a:rPr>
              <a:t>CIX Commitments to Trust</a:t>
            </a:r>
            <a:endParaRPr lang="en-SG">
              <a:solidFill>
                <a:schemeClr val="bg1"/>
              </a:solidFill>
            </a:endParaRPr>
          </a:p>
        </p:txBody>
      </p:sp>
      <p:sp>
        <p:nvSpPr>
          <p:cNvPr id="52" name="Rounded Rectangle 15">
            <a:extLst>
              <a:ext uri="{FF2B5EF4-FFF2-40B4-BE49-F238E27FC236}">
                <a16:creationId xmlns:a16="http://schemas.microsoft.com/office/drawing/2014/main" id="{6826FCE3-E333-B358-3B1B-F61987AA532B}"/>
              </a:ext>
            </a:extLst>
          </p:cNvPr>
          <p:cNvSpPr/>
          <p:nvPr/>
        </p:nvSpPr>
        <p:spPr>
          <a:xfrm>
            <a:off x="274928" y="1822038"/>
            <a:ext cx="2783638" cy="576000"/>
          </a:xfrm>
          <a:prstGeom prst="roundRect">
            <a:avLst>
              <a:gd name="adj" fmla="val 4194"/>
            </a:avLst>
          </a:prstGeom>
          <a:solidFill>
            <a:schemeClr val="accent1"/>
          </a:solidFill>
          <a:ln w="19050" cap="flat" cmpd="sng" algn="ctr">
            <a:solidFill>
              <a:schemeClr val="accent1">
                <a:lumMod val="20000"/>
                <a:lumOff val="80000"/>
              </a:schemeClr>
            </a:solidFill>
            <a:prstDash val="solid"/>
            <a:miter lim="800000"/>
          </a:ln>
          <a:effectLst/>
        </p:spPr>
        <p:txBody>
          <a:bodyPr lIns="180000" tIns="180000" rIns="180000" bIns="180000" rtlCol="0" anchor="ctr"/>
          <a:lstStyle/>
          <a:p>
            <a:pPr algn="ctr">
              <a:lnSpc>
                <a:spcPct val="110000"/>
              </a:lnSpc>
              <a:buClrTx/>
            </a:pPr>
            <a:r>
              <a:rPr lang="en-AU" sz="1200" b="1" u="sng">
                <a:solidFill>
                  <a:schemeClr val="bg1"/>
                </a:solidFill>
                <a:latin typeface="Century Gothic" panose="020B0502020202020204" pitchFamily="34" charset="0"/>
                <a:ea typeface="Century Gothic"/>
                <a:cs typeface="Century Gothic"/>
                <a:sym typeface="Century Gothic"/>
              </a:rPr>
              <a:t>Trust</a:t>
            </a:r>
            <a:r>
              <a:rPr lang="en-AU" sz="1200" b="1">
                <a:solidFill>
                  <a:schemeClr val="bg1"/>
                </a:solidFill>
                <a:latin typeface="Century Gothic" panose="020B0502020202020204" pitchFamily="34" charset="0"/>
                <a:ea typeface="Century Gothic"/>
                <a:cs typeface="Century Gothic"/>
                <a:sym typeface="Century Gothic"/>
              </a:rPr>
              <a:t> in </a:t>
            </a:r>
          </a:p>
          <a:p>
            <a:pPr algn="ctr">
              <a:lnSpc>
                <a:spcPct val="110000"/>
              </a:lnSpc>
              <a:buClrTx/>
            </a:pPr>
            <a:r>
              <a:rPr lang="en-AU" sz="1600" b="1">
                <a:solidFill>
                  <a:schemeClr val="bg1"/>
                </a:solidFill>
                <a:latin typeface="Century Gothic" panose="020B0502020202020204" pitchFamily="34" charset="0"/>
                <a:ea typeface="Century Gothic"/>
                <a:cs typeface="Century Gothic"/>
                <a:sym typeface="Century Gothic"/>
              </a:rPr>
              <a:t>CIX Products </a:t>
            </a:r>
          </a:p>
        </p:txBody>
      </p:sp>
      <p:sp>
        <p:nvSpPr>
          <p:cNvPr id="55" name="Rounded Rectangle 16">
            <a:extLst>
              <a:ext uri="{FF2B5EF4-FFF2-40B4-BE49-F238E27FC236}">
                <a16:creationId xmlns:a16="http://schemas.microsoft.com/office/drawing/2014/main" id="{2BC1B24A-2C4B-E241-BC8D-3428E75A8823}"/>
              </a:ext>
            </a:extLst>
          </p:cNvPr>
          <p:cNvSpPr/>
          <p:nvPr/>
        </p:nvSpPr>
        <p:spPr>
          <a:xfrm>
            <a:off x="3227859" y="1818876"/>
            <a:ext cx="2783638" cy="576000"/>
          </a:xfrm>
          <a:prstGeom prst="roundRect">
            <a:avLst>
              <a:gd name="adj" fmla="val 4194"/>
            </a:avLst>
          </a:prstGeom>
          <a:solidFill>
            <a:schemeClr val="accent1"/>
          </a:solidFill>
          <a:ln w="19050" cap="flat" cmpd="sng" algn="ctr">
            <a:solidFill>
              <a:schemeClr val="accent1">
                <a:lumMod val="20000"/>
                <a:lumOff val="80000"/>
              </a:schemeClr>
            </a:solidFill>
            <a:prstDash val="solid"/>
            <a:miter lim="800000"/>
          </a:ln>
          <a:effectLst/>
        </p:spPr>
        <p:txBody>
          <a:bodyPr lIns="180000" tIns="180000" rIns="180000" bIns="180000" rtlCol="0" anchor="ctr"/>
          <a:lstStyle/>
          <a:p>
            <a:pPr algn="ctr">
              <a:lnSpc>
                <a:spcPct val="110000"/>
              </a:lnSpc>
              <a:buClrTx/>
            </a:pPr>
            <a:r>
              <a:rPr lang="en-AU" sz="1200" b="1" u="sng">
                <a:solidFill>
                  <a:schemeClr val="bg1"/>
                </a:solidFill>
                <a:latin typeface="Century Gothic" panose="020B0502020202020204" pitchFamily="34" charset="0"/>
                <a:ea typeface="Century Gothic"/>
                <a:cs typeface="Century Gothic"/>
                <a:sym typeface="Century Gothic"/>
              </a:rPr>
              <a:t>Trust</a:t>
            </a:r>
            <a:r>
              <a:rPr lang="en-AU" sz="1200" b="1">
                <a:solidFill>
                  <a:schemeClr val="bg1"/>
                </a:solidFill>
                <a:latin typeface="Century Gothic" panose="020B0502020202020204" pitchFamily="34" charset="0"/>
                <a:ea typeface="Century Gothic"/>
                <a:cs typeface="Century Gothic"/>
                <a:sym typeface="Century Gothic"/>
              </a:rPr>
              <a:t> in</a:t>
            </a:r>
          </a:p>
          <a:p>
            <a:pPr algn="ctr">
              <a:lnSpc>
                <a:spcPct val="110000"/>
              </a:lnSpc>
              <a:buClrTx/>
            </a:pPr>
            <a:r>
              <a:rPr lang="en-AU" sz="1600" b="1">
                <a:solidFill>
                  <a:schemeClr val="bg1"/>
                </a:solidFill>
                <a:latin typeface="Century Gothic" panose="020B0502020202020204" pitchFamily="34" charset="0"/>
                <a:ea typeface="Century Gothic"/>
                <a:cs typeface="Century Gothic"/>
                <a:sym typeface="Century Gothic"/>
              </a:rPr>
              <a:t>CIX Execution</a:t>
            </a:r>
            <a:r>
              <a:rPr lang="en-AU" sz="1000" b="1">
                <a:solidFill>
                  <a:schemeClr val="bg1"/>
                </a:solidFill>
                <a:latin typeface="Century Gothic" panose="020B0502020202020204" pitchFamily="34" charset="0"/>
                <a:ea typeface="Century Gothic"/>
                <a:cs typeface="Century Gothic"/>
                <a:sym typeface="Century Gothic"/>
              </a:rPr>
              <a:t> </a:t>
            </a:r>
            <a:endParaRPr lang="en-AU" sz="1600" b="1">
              <a:solidFill>
                <a:schemeClr val="bg1"/>
              </a:solidFill>
              <a:latin typeface="Century Gothic" panose="020B0502020202020204" pitchFamily="34" charset="0"/>
              <a:ea typeface="Century Gothic"/>
              <a:cs typeface="Century Gothic"/>
              <a:sym typeface="Century Gothic"/>
            </a:endParaRPr>
          </a:p>
        </p:txBody>
      </p:sp>
      <p:sp>
        <p:nvSpPr>
          <p:cNvPr id="56" name="Rounded Rectangle 18">
            <a:extLst>
              <a:ext uri="{FF2B5EF4-FFF2-40B4-BE49-F238E27FC236}">
                <a16:creationId xmlns:a16="http://schemas.microsoft.com/office/drawing/2014/main" id="{80BFBE66-887F-E116-5379-80D7005E1C95}"/>
              </a:ext>
            </a:extLst>
          </p:cNvPr>
          <p:cNvSpPr/>
          <p:nvPr/>
        </p:nvSpPr>
        <p:spPr>
          <a:xfrm>
            <a:off x="6180505" y="1818876"/>
            <a:ext cx="2783638" cy="576000"/>
          </a:xfrm>
          <a:prstGeom prst="roundRect">
            <a:avLst>
              <a:gd name="adj" fmla="val 3363"/>
            </a:avLst>
          </a:prstGeom>
          <a:solidFill>
            <a:schemeClr val="accent1"/>
          </a:solidFill>
          <a:ln w="19050" cap="flat" cmpd="sng" algn="ctr">
            <a:solidFill>
              <a:schemeClr val="accent1">
                <a:lumMod val="20000"/>
                <a:lumOff val="80000"/>
              </a:schemeClr>
            </a:solidFill>
            <a:prstDash val="solid"/>
            <a:miter lim="800000"/>
          </a:ln>
          <a:effectLst/>
        </p:spPr>
        <p:txBody>
          <a:bodyPr lIns="180000" tIns="180000" rIns="180000" bIns="180000" rtlCol="0" anchor="ctr"/>
          <a:lstStyle/>
          <a:p>
            <a:pPr algn="ctr">
              <a:lnSpc>
                <a:spcPct val="110000"/>
              </a:lnSpc>
              <a:buClrTx/>
            </a:pPr>
            <a:r>
              <a:rPr lang="en-AU" sz="1200" b="1" u="sng">
                <a:solidFill>
                  <a:schemeClr val="bg1"/>
                </a:solidFill>
                <a:latin typeface="Century Gothic" panose="020B0502020202020204" pitchFamily="34" charset="0"/>
                <a:ea typeface="Century Gothic"/>
                <a:cs typeface="Century Gothic"/>
                <a:sym typeface="Century Gothic"/>
              </a:rPr>
              <a:t>Trust</a:t>
            </a:r>
            <a:r>
              <a:rPr lang="en-AU" sz="1200" b="1">
                <a:solidFill>
                  <a:schemeClr val="bg1"/>
                </a:solidFill>
                <a:latin typeface="Century Gothic" panose="020B0502020202020204" pitchFamily="34" charset="0"/>
                <a:ea typeface="Century Gothic"/>
                <a:cs typeface="Century Gothic"/>
                <a:sym typeface="Century Gothic"/>
              </a:rPr>
              <a:t> in</a:t>
            </a:r>
          </a:p>
          <a:p>
            <a:pPr algn="ctr">
              <a:lnSpc>
                <a:spcPct val="110000"/>
              </a:lnSpc>
              <a:buClrTx/>
            </a:pPr>
            <a:r>
              <a:rPr lang="en-AU" sz="1600" b="1">
                <a:solidFill>
                  <a:schemeClr val="bg1"/>
                </a:solidFill>
                <a:latin typeface="Century Gothic" panose="020B0502020202020204" pitchFamily="34" charset="0"/>
                <a:ea typeface="Century Gothic"/>
                <a:cs typeface="Century Gothic"/>
                <a:sym typeface="Century Gothic"/>
              </a:rPr>
              <a:t>CIX Product Use</a:t>
            </a:r>
          </a:p>
        </p:txBody>
      </p:sp>
      <p:sp>
        <p:nvSpPr>
          <p:cNvPr id="57" name="Rounded Rectangle 17">
            <a:extLst>
              <a:ext uri="{FF2B5EF4-FFF2-40B4-BE49-F238E27FC236}">
                <a16:creationId xmlns:a16="http://schemas.microsoft.com/office/drawing/2014/main" id="{3B6F9FCB-0DD0-C12D-51F4-832855054B50}"/>
              </a:ext>
            </a:extLst>
          </p:cNvPr>
          <p:cNvSpPr/>
          <p:nvPr/>
        </p:nvSpPr>
        <p:spPr>
          <a:xfrm>
            <a:off x="9133718" y="1818876"/>
            <a:ext cx="2783638" cy="576000"/>
          </a:xfrm>
          <a:prstGeom prst="roundRect">
            <a:avLst>
              <a:gd name="adj" fmla="val 2947"/>
            </a:avLst>
          </a:prstGeom>
          <a:solidFill>
            <a:schemeClr val="accent1"/>
          </a:solidFill>
          <a:ln w="19050" cap="flat" cmpd="sng" algn="ctr">
            <a:solidFill>
              <a:schemeClr val="accent1">
                <a:lumMod val="20000"/>
                <a:lumOff val="80000"/>
              </a:schemeClr>
            </a:solidFill>
            <a:prstDash val="solid"/>
            <a:miter lim="800000"/>
          </a:ln>
          <a:effectLst/>
        </p:spPr>
        <p:txBody>
          <a:bodyPr lIns="180000" tIns="180000" rIns="180000" bIns="180000" rtlCol="0" anchor="ctr"/>
          <a:lstStyle/>
          <a:p>
            <a:pPr algn="ctr">
              <a:lnSpc>
                <a:spcPct val="110000"/>
              </a:lnSpc>
              <a:buClrTx/>
            </a:pPr>
            <a:r>
              <a:rPr lang="en-AU" sz="1200" b="1" u="sng">
                <a:solidFill>
                  <a:schemeClr val="bg1"/>
                </a:solidFill>
                <a:latin typeface="Century Gothic" panose="020B0502020202020204" pitchFamily="34" charset="0"/>
                <a:ea typeface="Century Gothic"/>
                <a:cs typeface="Century Gothic"/>
                <a:sym typeface="Century Gothic"/>
              </a:rPr>
              <a:t>Trust</a:t>
            </a:r>
            <a:r>
              <a:rPr lang="en-AU" sz="1200" b="1">
                <a:solidFill>
                  <a:schemeClr val="bg1"/>
                </a:solidFill>
                <a:latin typeface="Century Gothic" panose="020B0502020202020204" pitchFamily="34" charset="0"/>
                <a:ea typeface="Century Gothic"/>
                <a:cs typeface="Century Gothic"/>
                <a:sym typeface="Century Gothic"/>
              </a:rPr>
              <a:t> in</a:t>
            </a:r>
          </a:p>
          <a:p>
            <a:pPr algn="ctr">
              <a:lnSpc>
                <a:spcPct val="110000"/>
              </a:lnSpc>
              <a:buClrTx/>
            </a:pPr>
            <a:r>
              <a:rPr lang="en-AU" sz="1600" b="1">
                <a:solidFill>
                  <a:schemeClr val="bg1"/>
                </a:solidFill>
                <a:latin typeface="Century Gothic" panose="020B0502020202020204" pitchFamily="34" charset="0"/>
                <a:ea typeface="Century Gothic"/>
                <a:cs typeface="Century Gothic"/>
                <a:sym typeface="Century Gothic"/>
              </a:rPr>
              <a:t>CIX Oversight </a:t>
            </a:r>
          </a:p>
        </p:txBody>
      </p:sp>
      <p:sp>
        <p:nvSpPr>
          <p:cNvPr id="71" name="Google Shape;610;p27">
            <a:extLst>
              <a:ext uri="{FF2B5EF4-FFF2-40B4-BE49-F238E27FC236}">
                <a16:creationId xmlns:a16="http://schemas.microsoft.com/office/drawing/2014/main" id="{2BF9A136-EF0F-41E1-B3DE-9CEB7CF641E3}"/>
              </a:ext>
            </a:extLst>
          </p:cNvPr>
          <p:cNvSpPr/>
          <p:nvPr/>
        </p:nvSpPr>
        <p:spPr>
          <a:xfrm>
            <a:off x="1068433" y="4431231"/>
            <a:ext cx="1890684" cy="2115964"/>
          </a:xfrm>
          <a:prstGeom prst="rect">
            <a:avLst/>
          </a:prstGeom>
          <a:noFill/>
          <a:ln w="6350" cap="flat" cmpd="sng" algn="ctr">
            <a:noFill/>
            <a:prstDash val="solid"/>
            <a:miter lim="800000"/>
          </a:ln>
          <a:effectLst/>
        </p:spPr>
        <p:txBody>
          <a:bodyPr spcFirstLastPara="1" wrap="square" lIns="0" tIns="0" rIns="0" bIns="0" anchor="t" anchorCtr="0">
            <a:spAutoFit/>
          </a:bodyPr>
          <a:lstStyle/>
          <a:p>
            <a:pPr defTabSz="1219018">
              <a:lnSpc>
                <a:spcPct val="250000"/>
              </a:lnSpc>
              <a:defRPr/>
            </a:pPr>
            <a:r>
              <a:rPr lang="en-US" sz="1100" dirty="0">
                <a:solidFill>
                  <a:schemeClr val="bg1"/>
                </a:solidFill>
                <a:latin typeface="+mj-lt"/>
                <a:ea typeface="Inter" panose="02000503000000020004" pitchFamily="2" charset="0"/>
                <a:sym typeface="Century Gothic"/>
              </a:rPr>
              <a:t>Additionality</a:t>
            </a:r>
          </a:p>
          <a:p>
            <a:pPr defTabSz="1219018">
              <a:lnSpc>
                <a:spcPct val="250000"/>
              </a:lnSpc>
              <a:defRPr/>
            </a:pPr>
            <a:r>
              <a:rPr lang="en-US" sz="1100" dirty="0">
                <a:solidFill>
                  <a:schemeClr val="bg1"/>
                </a:solidFill>
                <a:latin typeface="+mj-lt"/>
                <a:ea typeface="Inter" panose="02000503000000020004" pitchFamily="2" charset="0"/>
                <a:sym typeface="Century Gothic"/>
              </a:rPr>
              <a:t>Credible Baselines</a:t>
            </a:r>
          </a:p>
          <a:p>
            <a:pPr defTabSz="1219018">
              <a:lnSpc>
                <a:spcPct val="250000"/>
              </a:lnSpc>
              <a:defRPr/>
            </a:pPr>
            <a:r>
              <a:rPr lang="en-US" sz="1100" dirty="0">
                <a:solidFill>
                  <a:schemeClr val="bg1"/>
                </a:solidFill>
                <a:latin typeface="+mj-lt"/>
                <a:ea typeface="Inter" panose="02000503000000020004" pitchFamily="2" charset="0"/>
                <a:sym typeface="Century Gothic"/>
              </a:rPr>
              <a:t>Performance</a:t>
            </a:r>
          </a:p>
          <a:p>
            <a:pPr defTabSz="1219018">
              <a:lnSpc>
                <a:spcPct val="250000"/>
              </a:lnSpc>
              <a:defRPr/>
            </a:pPr>
            <a:r>
              <a:rPr lang="en-US" sz="1100" dirty="0">
                <a:solidFill>
                  <a:schemeClr val="bg1"/>
                </a:solidFill>
                <a:latin typeface="+mj-lt"/>
                <a:ea typeface="Inter" panose="02000503000000020004" pitchFamily="2" charset="0"/>
                <a:sym typeface="Century Gothic"/>
              </a:rPr>
              <a:t>Leakage</a:t>
            </a:r>
          </a:p>
          <a:p>
            <a:pPr defTabSz="1219018">
              <a:lnSpc>
                <a:spcPct val="250000"/>
              </a:lnSpc>
              <a:defRPr/>
            </a:pPr>
            <a:r>
              <a:rPr lang="en-US" sz="1100" dirty="0">
                <a:solidFill>
                  <a:schemeClr val="bg1"/>
                </a:solidFill>
                <a:latin typeface="+mj-lt"/>
                <a:ea typeface="Inter" panose="02000503000000020004" pitchFamily="2" charset="0"/>
                <a:sym typeface="Century Gothic"/>
              </a:rPr>
              <a:t>Community Impact</a:t>
            </a:r>
          </a:p>
        </p:txBody>
      </p:sp>
      <p:pic>
        <p:nvPicPr>
          <p:cNvPr id="77" name="Picture 76">
            <a:extLst>
              <a:ext uri="{FF2B5EF4-FFF2-40B4-BE49-F238E27FC236}">
                <a16:creationId xmlns:a16="http://schemas.microsoft.com/office/drawing/2014/main" id="{B1327036-DB36-2010-3DAD-BC26D369B12F}"/>
              </a:ext>
            </a:extLst>
          </p:cNvPr>
          <p:cNvPicPr>
            <a:picLocks noChangeAspect="1"/>
          </p:cNvPicPr>
          <p:nvPr/>
        </p:nvPicPr>
        <p:blipFill>
          <a:blip r:embed="rId7"/>
          <a:stretch>
            <a:fillRect/>
          </a:stretch>
        </p:blipFill>
        <p:spPr>
          <a:xfrm>
            <a:off x="521721" y="4589253"/>
            <a:ext cx="252000" cy="252000"/>
          </a:xfrm>
          <a:prstGeom prst="rect">
            <a:avLst/>
          </a:prstGeom>
        </p:spPr>
      </p:pic>
      <p:pic>
        <p:nvPicPr>
          <p:cNvPr id="78" name="Picture 77">
            <a:extLst>
              <a:ext uri="{FF2B5EF4-FFF2-40B4-BE49-F238E27FC236}">
                <a16:creationId xmlns:a16="http://schemas.microsoft.com/office/drawing/2014/main" id="{B2DFF21D-A9BB-0E30-C625-C78FA44CDA51}"/>
              </a:ext>
            </a:extLst>
          </p:cNvPr>
          <p:cNvPicPr>
            <a:picLocks noChangeAspect="1"/>
          </p:cNvPicPr>
          <p:nvPr/>
        </p:nvPicPr>
        <p:blipFill>
          <a:blip r:embed="rId8"/>
          <a:stretch>
            <a:fillRect/>
          </a:stretch>
        </p:blipFill>
        <p:spPr>
          <a:xfrm>
            <a:off x="486520" y="6222024"/>
            <a:ext cx="317388" cy="288000"/>
          </a:xfrm>
          <a:prstGeom prst="rect">
            <a:avLst/>
          </a:prstGeom>
        </p:spPr>
      </p:pic>
      <p:pic>
        <p:nvPicPr>
          <p:cNvPr id="79" name="Picture 78">
            <a:extLst>
              <a:ext uri="{FF2B5EF4-FFF2-40B4-BE49-F238E27FC236}">
                <a16:creationId xmlns:a16="http://schemas.microsoft.com/office/drawing/2014/main" id="{FB177252-58B1-A728-3746-05597E0F8EC6}"/>
              </a:ext>
            </a:extLst>
          </p:cNvPr>
          <p:cNvPicPr>
            <a:picLocks noChangeAspect="1"/>
          </p:cNvPicPr>
          <p:nvPr/>
        </p:nvPicPr>
        <p:blipFill>
          <a:blip r:embed="rId9"/>
          <a:stretch>
            <a:fillRect/>
          </a:stretch>
        </p:blipFill>
        <p:spPr>
          <a:xfrm>
            <a:off x="498795" y="5004859"/>
            <a:ext cx="307801" cy="216000"/>
          </a:xfrm>
          <a:prstGeom prst="rect">
            <a:avLst/>
          </a:prstGeom>
        </p:spPr>
      </p:pic>
      <p:pic>
        <p:nvPicPr>
          <p:cNvPr id="80" name="Picture 79">
            <a:extLst>
              <a:ext uri="{FF2B5EF4-FFF2-40B4-BE49-F238E27FC236}">
                <a16:creationId xmlns:a16="http://schemas.microsoft.com/office/drawing/2014/main" id="{B7C3740B-927A-1F68-46FE-FAB65564DE1B}"/>
              </a:ext>
            </a:extLst>
          </p:cNvPr>
          <p:cNvPicPr>
            <a:picLocks noChangeAspect="1"/>
          </p:cNvPicPr>
          <p:nvPr/>
        </p:nvPicPr>
        <p:blipFill>
          <a:blip r:embed="rId10"/>
          <a:stretch>
            <a:fillRect/>
          </a:stretch>
        </p:blipFill>
        <p:spPr>
          <a:xfrm>
            <a:off x="557382" y="5439354"/>
            <a:ext cx="257142" cy="252000"/>
          </a:xfrm>
          <a:prstGeom prst="rect">
            <a:avLst/>
          </a:prstGeom>
        </p:spPr>
      </p:pic>
      <p:pic>
        <p:nvPicPr>
          <p:cNvPr id="81" name="Picture 80">
            <a:extLst>
              <a:ext uri="{FF2B5EF4-FFF2-40B4-BE49-F238E27FC236}">
                <a16:creationId xmlns:a16="http://schemas.microsoft.com/office/drawing/2014/main" id="{2D09AB96-8F95-8BAB-A53A-CC8EDDF57F19}"/>
              </a:ext>
            </a:extLst>
          </p:cNvPr>
          <p:cNvPicPr>
            <a:picLocks noChangeAspect="1"/>
          </p:cNvPicPr>
          <p:nvPr/>
        </p:nvPicPr>
        <p:blipFill>
          <a:blip r:embed="rId11"/>
          <a:stretch>
            <a:fillRect/>
          </a:stretch>
        </p:blipFill>
        <p:spPr>
          <a:xfrm>
            <a:off x="489478" y="5872390"/>
            <a:ext cx="311538" cy="180000"/>
          </a:xfrm>
          <a:prstGeom prst="rect">
            <a:avLst/>
          </a:prstGeom>
        </p:spPr>
      </p:pic>
      <p:sp>
        <p:nvSpPr>
          <p:cNvPr id="82" name="Google Shape;610;p27">
            <a:extLst>
              <a:ext uri="{FF2B5EF4-FFF2-40B4-BE49-F238E27FC236}">
                <a16:creationId xmlns:a16="http://schemas.microsoft.com/office/drawing/2014/main" id="{3958EFB0-6F5E-8630-7191-2E1295D3B479}"/>
              </a:ext>
            </a:extLst>
          </p:cNvPr>
          <p:cNvSpPr/>
          <p:nvPr/>
        </p:nvSpPr>
        <p:spPr>
          <a:xfrm>
            <a:off x="3945622" y="4474076"/>
            <a:ext cx="1987994" cy="1692771"/>
          </a:xfrm>
          <a:prstGeom prst="rect">
            <a:avLst/>
          </a:prstGeom>
          <a:noFill/>
          <a:ln w="6350" cap="flat" cmpd="sng" algn="ctr">
            <a:noFill/>
            <a:prstDash val="solid"/>
            <a:miter lim="800000"/>
          </a:ln>
          <a:effectLst/>
        </p:spPr>
        <p:txBody>
          <a:bodyPr spcFirstLastPara="1" wrap="square" lIns="0" tIns="0" rIns="0" bIns="0" anchor="t" anchorCtr="0">
            <a:spAutoFit/>
          </a:bodyPr>
          <a:lstStyle/>
          <a:p>
            <a:pPr defTabSz="1219018">
              <a:lnSpc>
                <a:spcPct val="250000"/>
              </a:lnSpc>
              <a:defRPr/>
            </a:pPr>
            <a:r>
              <a:rPr lang="en-US" sz="1100" dirty="0">
                <a:solidFill>
                  <a:schemeClr val="bg1"/>
                </a:solidFill>
                <a:latin typeface="+mj-lt"/>
                <a:ea typeface="Inter" panose="02000503000000020004" pitchFamily="2" charset="0"/>
                <a:sym typeface="Century Gothic"/>
              </a:rPr>
              <a:t>Price Discovery</a:t>
            </a:r>
          </a:p>
          <a:p>
            <a:pPr defTabSz="1219018">
              <a:lnSpc>
                <a:spcPct val="250000"/>
              </a:lnSpc>
              <a:defRPr/>
            </a:pPr>
            <a:r>
              <a:rPr lang="en-US" sz="1100" dirty="0">
                <a:solidFill>
                  <a:schemeClr val="bg1"/>
                </a:solidFill>
                <a:latin typeface="+mj-lt"/>
                <a:ea typeface="Inter" panose="02000503000000020004" pitchFamily="2" charset="0"/>
                <a:sym typeface="Century Gothic"/>
              </a:rPr>
              <a:t>Inventory Management</a:t>
            </a:r>
          </a:p>
          <a:p>
            <a:pPr defTabSz="1219018">
              <a:lnSpc>
                <a:spcPct val="250000"/>
              </a:lnSpc>
              <a:defRPr/>
            </a:pPr>
            <a:r>
              <a:rPr lang="en-US" sz="1100" dirty="0">
                <a:solidFill>
                  <a:schemeClr val="bg1"/>
                </a:solidFill>
                <a:latin typeface="+mj-lt"/>
                <a:ea typeface="Inter" panose="02000503000000020004" pitchFamily="2" charset="0"/>
                <a:sym typeface="Century Gothic"/>
              </a:rPr>
              <a:t>Market Risk</a:t>
            </a:r>
          </a:p>
          <a:p>
            <a:pPr defTabSz="1219018">
              <a:lnSpc>
                <a:spcPct val="250000"/>
              </a:lnSpc>
              <a:defRPr/>
            </a:pPr>
            <a:r>
              <a:rPr lang="en-US" sz="1100" dirty="0">
                <a:solidFill>
                  <a:schemeClr val="bg1"/>
                </a:solidFill>
                <a:latin typeface="+mj-lt"/>
                <a:ea typeface="Inter" panose="02000503000000020004" pitchFamily="2" charset="0"/>
                <a:sym typeface="Century Gothic"/>
              </a:rPr>
              <a:t>Counterparty Risk</a:t>
            </a:r>
          </a:p>
        </p:txBody>
      </p:sp>
      <p:pic>
        <p:nvPicPr>
          <p:cNvPr id="83" name="Picture 82">
            <a:extLst>
              <a:ext uri="{FF2B5EF4-FFF2-40B4-BE49-F238E27FC236}">
                <a16:creationId xmlns:a16="http://schemas.microsoft.com/office/drawing/2014/main" id="{ECC47444-AB79-E7BD-E324-08D1C1B13D1A}"/>
              </a:ext>
            </a:extLst>
          </p:cNvPr>
          <p:cNvPicPr>
            <a:picLocks noChangeAspect="1"/>
          </p:cNvPicPr>
          <p:nvPr/>
        </p:nvPicPr>
        <p:blipFill>
          <a:blip r:embed="rId12"/>
          <a:stretch>
            <a:fillRect/>
          </a:stretch>
        </p:blipFill>
        <p:spPr>
          <a:xfrm>
            <a:off x="3430593" y="5431307"/>
            <a:ext cx="240279" cy="252000"/>
          </a:xfrm>
          <a:prstGeom prst="rect">
            <a:avLst/>
          </a:prstGeom>
        </p:spPr>
      </p:pic>
      <p:pic>
        <p:nvPicPr>
          <p:cNvPr id="84" name="Picture 83">
            <a:extLst>
              <a:ext uri="{FF2B5EF4-FFF2-40B4-BE49-F238E27FC236}">
                <a16:creationId xmlns:a16="http://schemas.microsoft.com/office/drawing/2014/main" id="{D3280075-7366-079B-222D-FE66C3C8E18C}"/>
              </a:ext>
            </a:extLst>
          </p:cNvPr>
          <p:cNvPicPr>
            <a:picLocks noChangeAspect="1"/>
          </p:cNvPicPr>
          <p:nvPr/>
        </p:nvPicPr>
        <p:blipFill>
          <a:blip r:embed="rId13"/>
          <a:stretch>
            <a:fillRect/>
          </a:stretch>
        </p:blipFill>
        <p:spPr>
          <a:xfrm>
            <a:off x="3402709" y="4651744"/>
            <a:ext cx="255273" cy="216000"/>
          </a:xfrm>
          <a:prstGeom prst="rect">
            <a:avLst/>
          </a:prstGeom>
        </p:spPr>
      </p:pic>
      <p:pic>
        <p:nvPicPr>
          <p:cNvPr id="85" name="Picture 84">
            <a:extLst>
              <a:ext uri="{FF2B5EF4-FFF2-40B4-BE49-F238E27FC236}">
                <a16:creationId xmlns:a16="http://schemas.microsoft.com/office/drawing/2014/main" id="{038748C2-9ADA-0347-438F-3F31E58BDE99}"/>
              </a:ext>
            </a:extLst>
          </p:cNvPr>
          <p:cNvPicPr>
            <a:picLocks noChangeAspect="1"/>
          </p:cNvPicPr>
          <p:nvPr/>
        </p:nvPicPr>
        <p:blipFill>
          <a:blip r:embed="rId14"/>
          <a:stretch>
            <a:fillRect/>
          </a:stretch>
        </p:blipFill>
        <p:spPr>
          <a:xfrm>
            <a:off x="3380217" y="5040208"/>
            <a:ext cx="300255" cy="252000"/>
          </a:xfrm>
          <a:prstGeom prst="rect">
            <a:avLst/>
          </a:prstGeom>
        </p:spPr>
      </p:pic>
      <p:pic>
        <p:nvPicPr>
          <p:cNvPr id="86" name="Picture 85">
            <a:extLst>
              <a:ext uri="{FF2B5EF4-FFF2-40B4-BE49-F238E27FC236}">
                <a16:creationId xmlns:a16="http://schemas.microsoft.com/office/drawing/2014/main" id="{37EF653A-1B83-CA2F-D426-D296E2C84C04}"/>
              </a:ext>
            </a:extLst>
          </p:cNvPr>
          <p:cNvPicPr>
            <a:picLocks noChangeAspect="1"/>
          </p:cNvPicPr>
          <p:nvPr/>
        </p:nvPicPr>
        <p:blipFill>
          <a:blip r:embed="rId15"/>
          <a:stretch>
            <a:fillRect/>
          </a:stretch>
        </p:blipFill>
        <p:spPr>
          <a:xfrm>
            <a:off x="3402709" y="5858983"/>
            <a:ext cx="323217" cy="252000"/>
          </a:xfrm>
          <a:prstGeom prst="rect">
            <a:avLst/>
          </a:prstGeom>
        </p:spPr>
      </p:pic>
      <p:sp>
        <p:nvSpPr>
          <p:cNvPr id="87" name="Google Shape;610;p27">
            <a:extLst>
              <a:ext uri="{FF2B5EF4-FFF2-40B4-BE49-F238E27FC236}">
                <a16:creationId xmlns:a16="http://schemas.microsoft.com/office/drawing/2014/main" id="{14C640D8-F666-F740-0C95-D9A79D6C354A}"/>
              </a:ext>
            </a:extLst>
          </p:cNvPr>
          <p:cNvSpPr/>
          <p:nvPr/>
        </p:nvSpPr>
        <p:spPr>
          <a:xfrm>
            <a:off x="7279842" y="4514282"/>
            <a:ext cx="1231282" cy="338554"/>
          </a:xfrm>
          <a:prstGeom prst="rect">
            <a:avLst/>
          </a:prstGeom>
          <a:noFill/>
          <a:ln w="6350" cap="flat" cmpd="sng" algn="ctr">
            <a:noFill/>
            <a:prstDash val="solid"/>
            <a:miter lim="800000"/>
          </a:ln>
          <a:effectLst/>
        </p:spPr>
        <p:txBody>
          <a:bodyPr spcFirstLastPara="1" wrap="square" lIns="0" tIns="0" rIns="0" bIns="0" anchor="t" anchorCtr="0">
            <a:spAutoFit/>
          </a:bodyPr>
          <a:lstStyle/>
          <a:p>
            <a:pPr defTabSz="1219018">
              <a:lnSpc>
                <a:spcPct val="200000"/>
              </a:lnSpc>
              <a:defRPr/>
            </a:pPr>
            <a:r>
              <a:rPr lang="en-US" sz="1100" dirty="0">
                <a:solidFill>
                  <a:schemeClr val="bg1"/>
                </a:solidFill>
                <a:latin typeface="+mj-lt"/>
                <a:ea typeface="Inter" panose="02000503000000020004" pitchFamily="2" charset="0"/>
                <a:sym typeface="Century Gothic"/>
              </a:rPr>
              <a:t>Community</a:t>
            </a:r>
          </a:p>
        </p:txBody>
      </p:sp>
      <p:pic>
        <p:nvPicPr>
          <p:cNvPr id="88" name="Picture 87">
            <a:extLst>
              <a:ext uri="{FF2B5EF4-FFF2-40B4-BE49-F238E27FC236}">
                <a16:creationId xmlns:a16="http://schemas.microsoft.com/office/drawing/2014/main" id="{AD9102FC-1F92-077A-BB84-7EF722389E7D}"/>
              </a:ext>
            </a:extLst>
          </p:cNvPr>
          <p:cNvPicPr>
            <a:picLocks noChangeAspect="1"/>
          </p:cNvPicPr>
          <p:nvPr/>
        </p:nvPicPr>
        <p:blipFill>
          <a:blip r:embed="rId16"/>
          <a:stretch>
            <a:fillRect/>
          </a:stretch>
        </p:blipFill>
        <p:spPr>
          <a:xfrm>
            <a:off x="6691910" y="4572374"/>
            <a:ext cx="317388" cy="288000"/>
          </a:xfrm>
          <a:prstGeom prst="rect">
            <a:avLst/>
          </a:prstGeom>
        </p:spPr>
      </p:pic>
      <p:sp>
        <p:nvSpPr>
          <p:cNvPr id="89" name="Google Shape;610;p27">
            <a:extLst>
              <a:ext uri="{FF2B5EF4-FFF2-40B4-BE49-F238E27FC236}">
                <a16:creationId xmlns:a16="http://schemas.microsoft.com/office/drawing/2014/main" id="{82523659-1CB9-4709-6168-BA6C7BDC06D5}"/>
              </a:ext>
            </a:extLst>
          </p:cNvPr>
          <p:cNvSpPr/>
          <p:nvPr/>
        </p:nvSpPr>
        <p:spPr>
          <a:xfrm>
            <a:off x="10027409" y="4474075"/>
            <a:ext cx="1476211" cy="846386"/>
          </a:xfrm>
          <a:prstGeom prst="rect">
            <a:avLst/>
          </a:prstGeom>
          <a:noFill/>
          <a:ln w="6350" cap="flat" cmpd="sng" algn="ctr">
            <a:noFill/>
            <a:prstDash val="solid"/>
            <a:miter lim="800000"/>
          </a:ln>
          <a:effectLst/>
        </p:spPr>
        <p:txBody>
          <a:bodyPr spcFirstLastPara="1" wrap="square" lIns="0" tIns="0" rIns="0" bIns="0" anchor="t" anchorCtr="0">
            <a:spAutoFit/>
          </a:bodyPr>
          <a:lstStyle/>
          <a:p>
            <a:pPr defTabSz="1219018">
              <a:lnSpc>
                <a:spcPct val="250000"/>
              </a:lnSpc>
              <a:defRPr/>
            </a:pPr>
            <a:r>
              <a:rPr lang="en-US" sz="1100" dirty="0">
                <a:solidFill>
                  <a:schemeClr val="bg1"/>
                </a:solidFill>
                <a:latin typeface="+mj-lt"/>
                <a:ea typeface="Inter" panose="02000503000000020004" pitchFamily="2" charset="0"/>
                <a:sym typeface="Century Gothic"/>
              </a:rPr>
              <a:t>Double Counting</a:t>
            </a:r>
          </a:p>
          <a:p>
            <a:pPr defTabSz="1219018">
              <a:lnSpc>
                <a:spcPct val="250000"/>
              </a:lnSpc>
              <a:defRPr/>
            </a:pPr>
            <a:r>
              <a:rPr lang="en-US" sz="1100" dirty="0">
                <a:solidFill>
                  <a:schemeClr val="bg1"/>
                </a:solidFill>
                <a:latin typeface="+mj-lt"/>
                <a:ea typeface="Inter" panose="02000503000000020004" pitchFamily="2" charset="0"/>
                <a:sym typeface="Century Gothic"/>
              </a:rPr>
              <a:t>Risk Management</a:t>
            </a:r>
          </a:p>
        </p:txBody>
      </p:sp>
      <p:pic>
        <p:nvPicPr>
          <p:cNvPr id="90" name="Picture 89">
            <a:extLst>
              <a:ext uri="{FF2B5EF4-FFF2-40B4-BE49-F238E27FC236}">
                <a16:creationId xmlns:a16="http://schemas.microsoft.com/office/drawing/2014/main" id="{95B1525F-48B8-53CE-EE5F-CB41D1641410}"/>
              </a:ext>
            </a:extLst>
          </p:cNvPr>
          <p:cNvPicPr>
            <a:picLocks noChangeAspect="1"/>
          </p:cNvPicPr>
          <p:nvPr/>
        </p:nvPicPr>
        <p:blipFill>
          <a:blip r:embed="rId17"/>
          <a:stretch>
            <a:fillRect/>
          </a:stretch>
        </p:blipFill>
        <p:spPr>
          <a:xfrm>
            <a:off x="9508356" y="5032246"/>
            <a:ext cx="286054" cy="252000"/>
          </a:xfrm>
          <a:prstGeom prst="rect">
            <a:avLst/>
          </a:prstGeom>
        </p:spPr>
      </p:pic>
      <p:pic>
        <p:nvPicPr>
          <p:cNvPr id="91" name="Picture 90">
            <a:extLst>
              <a:ext uri="{FF2B5EF4-FFF2-40B4-BE49-F238E27FC236}">
                <a16:creationId xmlns:a16="http://schemas.microsoft.com/office/drawing/2014/main" id="{111EDB39-013B-EF99-349C-678A121C9BAB}"/>
              </a:ext>
            </a:extLst>
          </p:cNvPr>
          <p:cNvPicPr>
            <a:picLocks noChangeAspect="1"/>
          </p:cNvPicPr>
          <p:nvPr/>
        </p:nvPicPr>
        <p:blipFill>
          <a:blip r:embed="rId18"/>
          <a:stretch>
            <a:fillRect/>
          </a:stretch>
        </p:blipFill>
        <p:spPr>
          <a:xfrm>
            <a:off x="9415484" y="4661253"/>
            <a:ext cx="311538" cy="180000"/>
          </a:xfrm>
          <a:prstGeom prst="rect">
            <a:avLst/>
          </a:prstGeom>
        </p:spPr>
      </p:pic>
    </p:spTree>
    <p:extLst>
      <p:ext uri="{BB962C8B-B14F-4D97-AF65-F5344CB8AC3E}">
        <p14:creationId xmlns:p14="http://schemas.microsoft.com/office/powerpoint/2010/main" val="35457181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C2A5AA5-BC63-41C1-88E6-02DAFDBC41AB}"/>
              </a:ext>
            </a:extLst>
          </p:cNvPr>
          <p:cNvSpPr>
            <a:spLocks noGrp="1"/>
          </p:cNvSpPr>
          <p:nvPr>
            <p:ph type="body" sz="quarter" idx="52"/>
          </p:nvPr>
        </p:nvSpPr>
        <p:spPr/>
        <p:txBody>
          <a:bodyPr/>
          <a:lstStyle/>
          <a:p>
            <a:endParaRPr lang="en-SG"/>
          </a:p>
        </p:txBody>
      </p:sp>
      <p:sp>
        <p:nvSpPr>
          <p:cNvPr id="168" name="Slide Number Placeholder 2">
            <a:extLst>
              <a:ext uri="{FF2B5EF4-FFF2-40B4-BE49-F238E27FC236}">
                <a16:creationId xmlns:a16="http://schemas.microsoft.com/office/drawing/2014/main" id="{289DB2A0-29E9-4188-95EB-1532BD23A39C}"/>
              </a:ext>
            </a:extLst>
          </p:cNvPr>
          <p:cNvSpPr>
            <a:spLocks noGrp="1"/>
          </p:cNvSpPr>
          <p:nvPr>
            <p:ph type="sldNum" sz="quarter" idx="10"/>
          </p:nvPr>
        </p:nvSpPr>
        <p:spPr>
          <a:xfrm>
            <a:off x="11596055" y="6520402"/>
            <a:ext cx="235945" cy="123111"/>
          </a:xfrm>
        </p:spPr>
        <p:txBody>
          <a:bodyPr/>
          <a:lstStyle/>
          <a:p>
            <a:fld id="{FC1BBE33-A891-48E8-970C-4A8D55F96D53}" type="slidenum">
              <a:rPr lang="en-AU" smtClean="0"/>
              <a:pPr/>
              <a:t>13</a:t>
            </a:fld>
            <a:endParaRPr lang="en-AU"/>
          </a:p>
        </p:txBody>
      </p:sp>
      <p:sp>
        <p:nvSpPr>
          <p:cNvPr id="5" name="Title 1">
            <a:extLst>
              <a:ext uri="{FF2B5EF4-FFF2-40B4-BE49-F238E27FC236}">
                <a16:creationId xmlns:a16="http://schemas.microsoft.com/office/drawing/2014/main" id="{142695A4-6A3D-D9B5-0946-BE390A5FC43A}"/>
              </a:ext>
            </a:extLst>
          </p:cNvPr>
          <p:cNvSpPr>
            <a:spLocks noGrp="1"/>
          </p:cNvSpPr>
          <p:nvPr>
            <p:ph type="title"/>
          </p:nvPr>
        </p:nvSpPr>
        <p:spPr>
          <a:xfrm>
            <a:off x="649438" y="887117"/>
            <a:ext cx="3603614" cy="954765"/>
          </a:xfrm>
        </p:spPr>
        <p:txBody>
          <a:bodyPr/>
          <a:lstStyle/>
          <a:p>
            <a:r>
              <a:rPr lang="en-GB" sz="3600" dirty="0">
                <a:ea typeface="+mj-lt"/>
                <a:cs typeface="+mj-lt"/>
              </a:rPr>
              <a:t>Be part of our CIX Community</a:t>
            </a:r>
          </a:p>
        </p:txBody>
      </p:sp>
      <p:sp>
        <p:nvSpPr>
          <p:cNvPr id="6" name="Text Placeholder 3">
            <a:extLst>
              <a:ext uri="{FF2B5EF4-FFF2-40B4-BE49-F238E27FC236}">
                <a16:creationId xmlns:a16="http://schemas.microsoft.com/office/drawing/2014/main" id="{6099AB78-0948-C23B-88A6-425D6DF7272D}"/>
              </a:ext>
            </a:extLst>
          </p:cNvPr>
          <p:cNvSpPr txBox="1">
            <a:spLocks/>
          </p:cNvSpPr>
          <p:nvPr/>
        </p:nvSpPr>
        <p:spPr>
          <a:xfrm>
            <a:off x="649440" y="2069670"/>
            <a:ext cx="4381076" cy="443198"/>
          </a:xfrm>
          <a:prstGeom prst="rect">
            <a:avLst/>
          </a:prstGeom>
        </p:spPr>
        <p:txBody>
          <a:bodyPr vert="horz" wrap="square" lIns="0" tIns="0" rIns="0" bIns="0" rtlCol="0" anchor="t">
            <a:spAutoFit/>
          </a:bodyPr>
          <a:lstStyle>
            <a:lvl1pPr marL="0" indent="0" algn="l" defTabSz="914400" rtl="0" eaLnBrk="1" latinLnBrk="0" hangingPunct="1">
              <a:lnSpc>
                <a:spcPct val="110000"/>
              </a:lnSpc>
              <a:spcBef>
                <a:spcPts val="400"/>
              </a:spcBef>
              <a:spcAft>
                <a:spcPts val="400"/>
              </a:spcAft>
              <a:buFont typeface="Arial" panose="020B0604020202020204" pitchFamily="34" charset="0"/>
              <a:buNone/>
              <a:defRPr sz="1800" b="0" kern="1200">
                <a:solidFill>
                  <a:schemeClr val="tx1">
                    <a:lumMod val="75000"/>
                    <a:lumOff val="25000"/>
                  </a:schemeClr>
                </a:solidFill>
                <a:latin typeface="+mn-lt"/>
                <a:ea typeface="+mn-ea"/>
                <a:cs typeface="+mn-cs"/>
              </a:defRPr>
            </a:lvl1pPr>
            <a:lvl2pPr marL="0" indent="0" algn="l" defTabSz="914400" rtl="0" eaLnBrk="1" latinLnBrk="0" hangingPunct="1">
              <a:lnSpc>
                <a:spcPct val="110000"/>
              </a:lnSpc>
              <a:spcBef>
                <a:spcPts val="400"/>
              </a:spcBef>
              <a:spcAft>
                <a:spcPts val="400"/>
              </a:spcAft>
              <a:buFont typeface="Arial" panose="020B0604020202020204" pitchFamily="34" charset="0"/>
              <a:buNone/>
              <a:defRPr sz="2800" kern="1200">
                <a:solidFill>
                  <a:schemeClr val="tx1">
                    <a:lumMod val="75000"/>
                    <a:lumOff val="25000"/>
                  </a:schemeClr>
                </a:solidFill>
                <a:latin typeface="Graphik Semibold" panose="020B0703030202060203" pitchFamily="34" charset="0"/>
                <a:ea typeface="+mn-ea"/>
                <a:cs typeface="+mn-cs"/>
              </a:defRPr>
            </a:lvl2pPr>
            <a:lvl3pPr marL="180000" indent="-180000" algn="l" defTabSz="914400" rtl="0" eaLnBrk="1" latinLnBrk="0" hangingPunct="1">
              <a:lnSpc>
                <a:spcPct val="110000"/>
              </a:lnSpc>
              <a:spcBef>
                <a:spcPts val="400"/>
              </a:spcBef>
              <a:spcAft>
                <a:spcPts val="400"/>
              </a:spcAft>
              <a:buFont typeface="Arial" panose="020B0604020202020204" pitchFamily="34" charset="0"/>
              <a:buChar char="•"/>
              <a:defRPr sz="1800" kern="1200">
                <a:solidFill>
                  <a:schemeClr val="tx1">
                    <a:lumMod val="75000"/>
                    <a:lumOff val="25000"/>
                  </a:schemeClr>
                </a:solidFill>
                <a:latin typeface="Century Gothic" panose="020B0502020202020204" pitchFamily="34" charset="0"/>
                <a:ea typeface="+mn-ea"/>
                <a:cs typeface="+mn-cs"/>
              </a:defRPr>
            </a:lvl3pPr>
            <a:lvl4pPr marL="360000" indent="-180000" algn="l" defTabSz="914400" rtl="0" eaLnBrk="1" latinLnBrk="0" hangingPunct="1">
              <a:lnSpc>
                <a:spcPct val="110000"/>
              </a:lnSpc>
              <a:spcBef>
                <a:spcPts val="400"/>
              </a:spcBef>
              <a:spcAft>
                <a:spcPts val="400"/>
              </a:spcAft>
              <a:buFont typeface="Arial" panose="020B0604020202020204" pitchFamily="34" charset="0"/>
              <a:buChar char="–"/>
              <a:defRPr sz="1600" kern="1200">
                <a:solidFill>
                  <a:schemeClr val="tx1">
                    <a:lumMod val="75000"/>
                    <a:lumOff val="25000"/>
                  </a:schemeClr>
                </a:solidFill>
                <a:latin typeface="Century Gothic" panose="020B0502020202020204" pitchFamily="34" charset="0"/>
                <a:ea typeface="+mn-ea"/>
                <a:cs typeface="+mn-cs"/>
              </a:defRPr>
            </a:lvl4pPr>
            <a:lvl5pPr marL="543600" indent="-180000" algn="l" defTabSz="914400" rtl="0" eaLnBrk="1" latinLnBrk="0" hangingPunct="1">
              <a:lnSpc>
                <a:spcPct val="110000"/>
              </a:lnSpc>
              <a:spcBef>
                <a:spcPts val="400"/>
              </a:spcBef>
              <a:spcAft>
                <a:spcPts val="400"/>
              </a:spcAft>
              <a:buFont typeface="Arial" panose="020B0604020202020204" pitchFamily="34" charset="0"/>
              <a:buChar char="•"/>
              <a:defRPr sz="1600" kern="1200">
                <a:solidFill>
                  <a:schemeClr val="tx1">
                    <a:lumMod val="75000"/>
                    <a:lumOff val="25000"/>
                  </a:schemeClr>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spcBef>
                <a:spcPct val="0"/>
              </a:spcBef>
              <a:spcAft>
                <a:spcPts val="0"/>
              </a:spcAft>
            </a:pPr>
            <a:r>
              <a:rPr lang="en-SG" sz="1600" b="1">
                <a:solidFill>
                  <a:srgbClr val="777777"/>
                </a:solidFill>
                <a:ea typeface="+mn-lt"/>
                <a:cs typeface="+mn-lt"/>
              </a:rPr>
              <a:t>Events | Insights | Opinions  </a:t>
            </a:r>
            <a:endParaRPr lang="en-US" sz="1600">
              <a:solidFill>
                <a:srgbClr val="777777"/>
              </a:solidFill>
              <a:ea typeface="+mn-lt"/>
              <a:cs typeface="+mn-lt"/>
            </a:endParaRPr>
          </a:p>
          <a:p>
            <a:pPr>
              <a:lnSpc>
                <a:spcPct val="90000"/>
              </a:lnSpc>
              <a:spcBef>
                <a:spcPct val="0"/>
              </a:spcBef>
              <a:spcAft>
                <a:spcPts val="0"/>
              </a:spcAft>
            </a:pPr>
            <a:r>
              <a:rPr lang="en-SG" sz="1600" b="1">
                <a:solidFill>
                  <a:srgbClr val="777777"/>
                </a:solidFill>
                <a:ea typeface="+mn-lt"/>
                <a:cs typeface="+mn-lt"/>
              </a:rPr>
              <a:t>on the Voluntary Carbon Market</a:t>
            </a:r>
            <a:endParaRPr lang="en-US" sz="1600">
              <a:solidFill>
                <a:srgbClr val="777777"/>
              </a:solidFill>
            </a:endParaRPr>
          </a:p>
        </p:txBody>
      </p:sp>
      <p:pic>
        <p:nvPicPr>
          <p:cNvPr id="2" name="Picture 2" descr="Qr code&#10;&#10;Description automatically generated">
            <a:extLst>
              <a:ext uri="{FF2B5EF4-FFF2-40B4-BE49-F238E27FC236}">
                <a16:creationId xmlns:a16="http://schemas.microsoft.com/office/drawing/2014/main" id="{B8FFBCC8-9660-E962-0235-85058D24A6A2}"/>
              </a:ext>
            </a:extLst>
          </p:cNvPr>
          <p:cNvPicPr>
            <a:picLocks noChangeAspect="1"/>
          </p:cNvPicPr>
          <p:nvPr/>
        </p:nvPicPr>
        <p:blipFill>
          <a:blip r:embed="rId3"/>
          <a:stretch>
            <a:fillRect/>
          </a:stretch>
        </p:blipFill>
        <p:spPr>
          <a:xfrm>
            <a:off x="652894" y="2763806"/>
            <a:ext cx="2041833" cy="2010388"/>
          </a:xfrm>
          <a:prstGeom prst="rect">
            <a:avLst/>
          </a:prstGeom>
        </p:spPr>
      </p:pic>
      <p:sp>
        <p:nvSpPr>
          <p:cNvPr id="14" name="Text Placeholder 3">
            <a:extLst>
              <a:ext uri="{FF2B5EF4-FFF2-40B4-BE49-F238E27FC236}">
                <a16:creationId xmlns:a16="http://schemas.microsoft.com/office/drawing/2014/main" id="{44817355-D1BD-768E-1AAA-4AF31A0FEB35}"/>
              </a:ext>
            </a:extLst>
          </p:cNvPr>
          <p:cNvSpPr txBox="1">
            <a:spLocks/>
          </p:cNvSpPr>
          <p:nvPr/>
        </p:nvSpPr>
        <p:spPr>
          <a:xfrm>
            <a:off x="649440" y="4999531"/>
            <a:ext cx="4375170" cy="248530"/>
          </a:xfrm>
          <a:prstGeom prst="rect">
            <a:avLst/>
          </a:prstGeom>
        </p:spPr>
        <p:txBody>
          <a:bodyPr vert="horz" wrap="square" lIns="0" tIns="0" rIns="0" bIns="0" rtlCol="0" anchor="t">
            <a:spAutoFit/>
          </a:bodyPr>
          <a:lstStyle>
            <a:lvl1pPr marL="0" indent="0" algn="l" defTabSz="914400" rtl="0" eaLnBrk="1" latinLnBrk="0" hangingPunct="1">
              <a:lnSpc>
                <a:spcPct val="110000"/>
              </a:lnSpc>
              <a:spcBef>
                <a:spcPts val="400"/>
              </a:spcBef>
              <a:spcAft>
                <a:spcPts val="400"/>
              </a:spcAft>
              <a:buFont typeface="Arial" panose="020B0604020202020204" pitchFamily="34" charset="0"/>
              <a:buNone/>
              <a:defRPr sz="1800" b="0" kern="1200">
                <a:solidFill>
                  <a:schemeClr val="tx1">
                    <a:lumMod val="75000"/>
                    <a:lumOff val="25000"/>
                  </a:schemeClr>
                </a:solidFill>
                <a:latin typeface="+mn-lt"/>
                <a:ea typeface="+mn-ea"/>
                <a:cs typeface="+mn-cs"/>
              </a:defRPr>
            </a:lvl1pPr>
            <a:lvl2pPr marL="0" indent="0" algn="l" defTabSz="914400" rtl="0" eaLnBrk="1" latinLnBrk="0" hangingPunct="1">
              <a:lnSpc>
                <a:spcPct val="110000"/>
              </a:lnSpc>
              <a:spcBef>
                <a:spcPts val="400"/>
              </a:spcBef>
              <a:spcAft>
                <a:spcPts val="400"/>
              </a:spcAft>
              <a:buFont typeface="Arial" panose="020B0604020202020204" pitchFamily="34" charset="0"/>
              <a:buNone/>
              <a:defRPr sz="2800" kern="1200">
                <a:solidFill>
                  <a:schemeClr val="tx1">
                    <a:lumMod val="75000"/>
                    <a:lumOff val="25000"/>
                  </a:schemeClr>
                </a:solidFill>
                <a:latin typeface="Graphik Semibold" panose="020B0703030202060203" pitchFamily="34" charset="0"/>
                <a:ea typeface="+mn-ea"/>
                <a:cs typeface="+mn-cs"/>
              </a:defRPr>
            </a:lvl2pPr>
            <a:lvl3pPr marL="180000" indent="-180000" algn="l" defTabSz="914400" rtl="0" eaLnBrk="1" latinLnBrk="0" hangingPunct="1">
              <a:lnSpc>
                <a:spcPct val="110000"/>
              </a:lnSpc>
              <a:spcBef>
                <a:spcPts val="400"/>
              </a:spcBef>
              <a:spcAft>
                <a:spcPts val="400"/>
              </a:spcAft>
              <a:buFont typeface="Arial" panose="020B0604020202020204" pitchFamily="34" charset="0"/>
              <a:buChar char="•"/>
              <a:defRPr sz="1800" kern="1200">
                <a:solidFill>
                  <a:schemeClr val="tx1">
                    <a:lumMod val="75000"/>
                    <a:lumOff val="25000"/>
                  </a:schemeClr>
                </a:solidFill>
                <a:latin typeface="Century Gothic" panose="020B0502020202020204" pitchFamily="34" charset="0"/>
                <a:ea typeface="+mn-ea"/>
                <a:cs typeface="+mn-cs"/>
              </a:defRPr>
            </a:lvl3pPr>
            <a:lvl4pPr marL="360000" indent="-180000" algn="l" defTabSz="914400" rtl="0" eaLnBrk="1" latinLnBrk="0" hangingPunct="1">
              <a:lnSpc>
                <a:spcPct val="110000"/>
              </a:lnSpc>
              <a:spcBef>
                <a:spcPts val="400"/>
              </a:spcBef>
              <a:spcAft>
                <a:spcPts val="400"/>
              </a:spcAft>
              <a:buFont typeface="Arial" panose="020B0604020202020204" pitchFamily="34" charset="0"/>
              <a:buChar char="–"/>
              <a:defRPr sz="1600" kern="1200">
                <a:solidFill>
                  <a:schemeClr val="tx1">
                    <a:lumMod val="75000"/>
                    <a:lumOff val="25000"/>
                  </a:schemeClr>
                </a:solidFill>
                <a:latin typeface="Century Gothic" panose="020B0502020202020204" pitchFamily="34" charset="0"/>
                <a:ea typeface="+mn-ea"/>
                <a:cs typeface="+mn-cs"/>
              </a:defRPr>
            </a:lvl4pPr>
            <a:lvl5pPr marL="543600" indent="-180000" algn="l" defTabSz="914400" rtl="0" eaLnBrk="1" latinLnBrk="0" hangingPunct="1">
              <a:lnSpc>
                <a:spcPct val="110000"/>
              </a:lnSpc>
              <a:spcBef>
                <a:spcPts val="400"/>
              </a:spcBef>
              <a:spcAft>
                <a:spcPts val="400"/>
              </a:spcAft>
              <a:buFont typeface="Arial" panose="020B0604020202020204" pitchFamily="34" charset="0"/>
              <a:buChar char="•"/>
              <a:defRPr sz="1600" kern="1200">
                <a:solidFill>
                  <a:schemeClr val="tx1">
                    <a:lumMod val="75000"/>
                    <a:lumOff val="25000"/>
                  </a:schemeClr>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SG" sz="1600" b="1">
                <a:solidFill>
                  <a:srgbClr val="777777"/>
                </a:solidFill>
                <a:ea typeface="+mn-lt"/>
                <a:cs typeface="+mn-lt"/>
              </a:rPr>
              <a:t>Scan to join our community</a:t>
            </a:r>
            <a:endParaRPr lang="en-SG" sz="1600">
              <a:ea typeface="+mn-lt"/>
              <a:cs typeface="+mn-lt"/>
            </a:endParaRPr>
          </a:p>
        </p:txBody>
      </p:sp>
      <p:pic>
        <p:nvPicPr>
          <p:cNvPr id="12" name="Picture 8" descr="people in conference">
            <a:extLst>
              <a:ext uri="{FF2B5EF4-FFF2-40B4-BE49-F238E27FC236}">
                <a16:creationId xmlns:a16="http://schemas.microsoft.com/office/drawing/2014/main" id="{0275D5E4-904E-DCDA-9636-AE98C21F3C6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88516" y="3976060"/>
            <a:ext cx="3075816" cy="2052395"/>
          </a:xfrm>
          <a:prstGeom prst="rect">
            <a:avLst/>
          </a:prstGeom>
          <a:extLst>
            <a:ext uri="{909E8E84-426E-40DD-AFC4-6F175D3DCCD1}">
              <a14:hiddenFill xmlns:a14="http://schemas.microsoft.com/office/drawing/2010/main">
                <a:solidFill>
                  <a:srgbClr val="FFFFFF"/>
                </a:solidFill>
              </a14:hiddenFill>
            </a:ext>
          </a:extLst>
        </p:spPr>
      </p:pic>
      <p:pic>
        <p:nvPicPr>
          <p:cNvPr id="13" name="Picture 2" descr="people inside conference">
            <a:extLst>
              <a:ext uri="{FF2B5EF4-FFF2-40B4-BE49-F238E27FC236}">
                <a16:creationId xmlns:a16="http://schemas.microsoft.com/office/drawing/2014/main" id="{58334C84-2066-8F3C-37AA-40485F4235F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3492" r="749" b="-279"/>
          <a:stretch/>
        </p:blipFill>
        <p:spPr bwMode="auto">
          <a:xfrm>
            <a:off x="8348868" y="3979014"/>
            <a:ext cx="3128232" cy="2046404"/>
          </a:xfrm>
          <a:prstGeom prst="rect">
            <a:avLst/>
          </a:prstGeom>
          <a:extLst>
            <a:ext uri="{909E8E84-426E-40DD-AFC4-6F175D3DCCD1}">
              <a14:hiddenFill xmlns:a14="http://schemas.microsoft.com/office/drawing/2010/main">
                <a:solidFill>
                  <a:srgbClr val="FFFFFF"/>
                </a:solidFill>
              </a14:hiddenFill>
            </a:ext>
          </a:extLst>
        </p:spPr>
      </p:pic>
      <p:pic>
        <p:nvPicPr>
          <p:cNvPr id="16" name="Picture 15" descr="A picture containing sky, tree, outdoor, background&#10;&#10;Description automatically generated">
            <a:extLst>
              <a:ext uri="{FF2B5EF4-FFF2-40B4-BE49-F238E27FC236}">
                <a16:creationId xmlns:a16="http://schemas.microsoft.com/office/drawing/2014/main" id="{979161AE-40C2-0B2D-0AF7-6BAC1D48E555}"/>
              </a:ext>
            </a:extLst>
          </p:cNvPr>
          <p:cNvPicPr>
            <a:picLocks noChangeAspect="1"/>
          </p:cNvPicPr>
          <p:nvPr/>
        </p:nvPicPr>
        <p:blipFill rotWithShape="1">
          <a:blip r:embed="rId6"/>
          <a:srcRect r="8898" b="-290"/>
          <a:stretch/>
        </p:blipFill>
        <p:spPr>
          <a:xfrm>
            <a:off x="8347653" y="1199727"/>
            <a:ext cx="3125969" cy="2043738"/>
          </a:xfrm>
          <a:prstGeom prst="rect">
            <a:avLst/>
          </a:prstGeom>
        </p:spPr>
      </p:pic>
      <p:pic>
        <p:nvPicPr>
          <p:cNvPr id="18" name="Picture 17" descr="A picture containing text, picture frame&#10;&#10;Description automatically generated">
            <a:extLst>
              <a:ext uri="{FF2B5EF4-FFF2-40B4-BE49-F238E27FC236}">
                <a16:creationId xmlns:a16="http://schemas.microsoft.com/office/drawing/2014/main" id="{684DCC58-8E60-E6D9-3B16-A10881EF4D6C}"/>
              </a:ext>
            </a:extLst>
          </p:cNvPr>
          <p:cNvPicPr>
            <a:picLocks noChangeAspect="1"/>
          </p:cNvPicPr>
          <p:nvPr/>
        </p:nvPicPr>
        <p:blipFill rotWithShape="1">
          <a:blip r:embed="rId7"/>
          <a:srcRect r="377" b="-291"/>
          <a:stretch/>
        </p:blipFill>
        <p:spPr>
          <a:xfrm>
            <a:off x="5187794" y="1200509"/>
            <a:ext cx="3075498" cy="2042193"/>
          </a:xfrm>
          <a:prstGeom prst="rect">
            <a:avLst/>
          </a:prstGeom>
        </p:spPr>
      </p:pic>
      <p:sp>
        <p:nvSpPr>
          <p:cNvPr id="24" name="TextBox 23">
            <a:extLst>
              <a:ext uri="{FF2B5EF4-FFF2-40B4-BE49-F238E27FC236}">
                <a16:creationId xmlns:a16="http://schemas.microsoft.com/office/drawing/2014/main" id="{51C8F045-9C77-4D49-99C5-EEE738B7B0AD}"/>
              </a:ext>
            </a:extLst>
          </p:cNvPr>
          <p:cNvSpPr txBox="1"/>
          <p:nvPr/>
        </p:nvSpPr>
        <p:spPr>
          <a:xfrm>
            <a:off x="8348128" y="3359888"/>
            <a:ext cx="3436932" cy="15388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SG" sz="1000">
                <a:solidFill>
                  <a:srgbClr val="777777"/>
                </a:solidFill>
              </a:rPr>
              <a:t>Tambopata National Park, Peru. Courtesy: </a:t>
            </a:r>
            <a:r>
              <a:rPr lang="en-SG" sz="1000" err="1">
                <a:solidFill>
                  <a:srgbClr val="777777"/>
                </a:solidFill>
              </a:rPr>
              <a:t>Ecoterria</a:t>
            </a:r>
            <a:endParaRPr lang="en-US" sz="1000">
              <a:solidFill>
                <a:srgbClr val="777777"/>
              </a:solidFill>
            </a:endParaRPr>
          </a:p>
        </p:txBody>
      </p:sp>
      <p:sp>
        <p:nvSpPr>
          <p:cNvPr id="33" name="TextBox 32">
            <a:extLst>
              <a:ext uri="{FF2B5EF4-FFF2-40B4-BE49-F238E27FC236}">
                <a16:creationId xmlns:a16="http://schemas.microsoft.com/office/drawing/2014/main" id="{4B89E530-1997-B140-6DE9-FDB168189950}"/>
              </a:ext>
            </a:extLst>
          </p:cNvPr>
          <p:cNvSpPr txBox="1"/>
          <p:nvPr/>
        </p:nvSpPr>
        <p:spPr>
          <a:xfrm>
            <a:off x="5188298" y="3359888"/>
            <a:ext cx="3003777" cy="15388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SG" sz="1000">
                <a:solidFill>
                  <a:srgbClr val="777777"/>
                </a:solidFill>
                <a:ea typeface="+mn-lt"/>
                <a:cs typeface="+mn-lt"/>
              </a:rPr>
              <a:t>Delta Blue Carbon, Pakistan.  Courtesy: </a:t>
            </a:r>
            <a:r>
              <a:rPr lang="en-SG" sz="1000" err="1">
                <a:solidFill>
                  <a:srgbClr val="777777"/>
                </a:solidFill>
                <a:ea typeface="+mn-lt"/>
                <a:cs typeface="+mn-lt"/>
              </a:rPr>
              <a:t>Respira</a:t>
            </a:r>
            <a:endParaRPr lang="en-US" sz="1000">
              <a:solidFill>
                <a:srgbClr val="777777"/>
              </a:solidFill>
              <a:ea typeface="+mn-lt"/>
              <a:cs typeface="+mn-lt"/>
            </a:endParaRPr>
          </a:p>
        </p:txBody>
      </p:sp>
      <p:sp>
        <p:nvSpPr>
          <p:cNvPr id="35" name="Text Placeholder 3">
            <a:extLst>
              <a:ext uri="{FF2B5EF4-FFF2-40B4-BE49-F238E27FC236}">
                <a16:creationId xmlns:a16="http://schemas.microsoft.com/office/drawing/2014/main" id="{525B99CD-715B-BF7C-B359-42127CCDC034}"/>
              </a:ext>
            </a:extLst>
          </p:cNvPr>
          <p:cNvSpPr txBox="1">
            <a:spLocks/>
          </p:cNvSpPr>
          <p:nvPr/>
        </p:nvSpPr>
        <p:spPr>
          <a:xfrm>
            <a:off x="5174184" y="870553"/>
            <a:ext cx="4381076" cy="166199"/>
          </a:xfrm>
          <a:prstGeom prst="rect">
            <a:avLst/>
          </a:prstGeom>
        </p:spPr>
        <p:txBody>
          <a:bodyPr vert="horz" wrap="square" lIns="0" tIns="0" rIns="0" bIns="0" rtlCol="0" anchor="t">
            <a:spAutoFit/>
          </a:bodyPr>
          <a:lstStyle>
            <a:lvl1pPr marL="0" indent="0" algn="l" defTabSz="914400" rtl="0" eaLnBrk="1" latinLnBrk="0" hangingPunct="1">
              <a:lnSpc>
                <a:spcPct val="110000"/>
              </a:lnSpc>
              <a:spcBef>
                <a:spcPts val="400"/>
              </a:spcBef>
              <a:spcAft>
                <a:spcPts val="400"/>
              </a:spcAft>
              <a:buFont typeface="Arial" panose="020B0604020202020204" pitchFamily="34" charset="0"/>
              <a:buNone/>
              <a:defRPr sz="1800" b="0" kern="1200">
                <a:solidFill>
                  <a:schemeClr val="tx1">
                    <a:lumMod val="75000"/>
                    <a:lumOff val="25000"/>
                  </a:schemeClr>
                </a:solidFill>
                <a:latin typeface="+mn-lt"/>
                <a:ea typeface="+mn-ea"/>
                <a:cs typeface="+mn-cs"/>
              </a:defRPr>
            </a:lvl1pPr>
            <a:lvl2pPr marL="0" indent="0" algn="l" defTabSz="914400" rtl="0" eaLnBrk="1" latinLnBrk="0" hangingPunct="1">
              <a:lnSpc>
                <a:spcPct val="110000"/>
              </a:lnSpc>
              <a:spcBef>
                <a:spcPts val="400"/>
              </a:spcBef>
              <a:spcAft>
                <a:spcPts val="400"/>
              </a:spcAft>
              <a:buFont typeface="Arial" panose="020B0604020202020204" pitchFamily="34" charset="0"/>
              <a:buNone/>
              <a:defRPr sz="2800" kern="1200">
                <a:solidFill>
                  <a:schemeClr val="tx1">
                    <a:lumMod val="75000"/>
                    <a:lumOff val="25000"/>
                  </a:schemeClr>
                </a:solidFill>
                <a:latin typeface="Graphik Semibold" panose="020B0703030202060203" pitchFamily="34" charset="0"/>
                <a:ea typeface="+mn-ea"/>
                <a:cs typeface="+mn-cs"/>
              </a:defRPr>
            </a:lvl2pPr>
            <a:lvl3pPr marL="180000" indent="-180000" algn="l" defTabSz="914400" rtl="0" eaLnBrk="1" latinLnBrk="0" hangingPunct="1">
              <a:lnSpc>
                <a:spcPct val="110000"/>
              </a:lnSpc>
              <a:spcBef>
                <a:spcPts val="400"/>
              </a:spcBef>
              <a:spcAft>
                <a:spcPts val="400"/>
              </a:spcAft>
              <a:buFont typeface="Arial" panose="020B0604020202020204" pitchFamily="34" charset="0"/>
              <a:buChar char="•"/>
              <a:defRPr sz="1800" kern="1200">
                <a:solidFill>
                  <a:schemeClr val="tx1">
                    <a:lumMod val="75000"/>
                    <a:lumOff val="25000"/>
                  </a:schemeClr>
                </a:solidFill>
                <a:latin typeface="Century Gothic" panose="020B0502020202020204" pitchFamily="34" charset="0"/>
                <a:ea typeface="+mn-ea"/>
                <a:cs typeface="+mn-cs"/>
              </a:defRPr>
            </a:lvl3pPr>
            <a:lvl4pPr marL="360000" indent="-180000" algn="l" defTabSz="914400" rtl="0" eaLnBrk="1" latinLnBrk="0" hangingPunct="1">
              <a:lnSpc>
                <a:spcPct val="110000"/>
              </a:lnSpc>
              <a:spcBef>
                <a:spcPts val="400"/>
              </a:spcBef>
              <a:spcAft>
                <a:spcPts val="400"/>
              </a:spcAft>
              <a:buFont typeface="Arial" panose="020B0604020202020204" pitchFamily="34" charset="0"/>
              <a:buChar char="–"/>
              <a:defRPr sz="1600" kern="1200">
                <a:solidFill>
                  <a:schemeClr val="tx1">
                    <a:lumMod val="75000"/>
                    <a:lumOff val="25000"/>
                  </a:schemeClr>
                </a:solidFill>
                <a:latin typeface="Century Gothic" panose="020B0502020202020204" pitchFamily="34" charset="0"/>
                <a:ea typeface="+mn-ea"/>
                <a:cs typeface="+mn-cs"/>
              </a:defRPr>
            </a:lvl4pPr>
            <a:lvl5pPr marL="543600" indent="-180000" algn="l" defTabSz="914400" rtl="0" eaLnBrk="1" latinLnBrk="0" hangingPunct="1">
              <a:lnSpc>
                <a:spcPct val="110000"/>
              </a:lnSpc>
              <a:spcBef>
                <a:spcPts val="400"/>
              </a:spcBef>
              <a:spcAft>
                <a:spcPts val="400"/>
              </a:spcAft>
              <a:buFont typeface="Arial" panose="020B0604020202020204" pitchFamily="34" charset="0"/>
              <a:buChar char="•"/>
              <a:defRPr sz="1600" kern="1200">
                <a:solidFill>
                  <a:schemeClr val="tx1">
                    <a:lumMod val="75000"/>
                    <a:lumOff val="25000"/>
                  </a:schemeClr>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spcBef>
                <a:spcPct val="0"/>
              </a:spcBef>
              <a:spcAft>
                <a:spcPts val="0"/>
              </a:spcAft>
            </a:pPr>
            <a:r>
              <a:rPr lang="en-SG" sz="1200" b="1">
                <a:solidFill>
                  <a:srgbClr val="777777"/>
                </a:solidFill>
                <a:ea typeface="+mn-lt"/>
                <a:cs typeface="+mn-lt"/>
              </a:rPr>
              <a:t>Meet project developers</a:t>
            </a:r>
            <a:endParaRPr lang="en-US" sz="1200"/>
          </a:p>
        </p:txBody>
      </p:sp>
      <p:sp>
        <p:nvSpPr>
          <p:cNvPr id="36" name="Text Placeholder 3">
            <a:extLst>
              <a:ext uri="{FF2B5EF4-FFF2-40B4-BE49-F238E27FC236}">
                <a16:creationId xmlns:a16="http://schemas.microsoft.com/office/drawing/2014/main" id="{5D6D9FED-996C-B990-E6B0-03A1EBF8F70D}"/>
              </a:ext>
            </a:extLst>
          </p:cNvPr>
          <p:cNvSpPr txBox="1">
            <a:spLocks/>
          </p:cNvSpPr>
          <p:nvPr/>
        </p:nvSpPr>
        <p:spPr>
          <a:xfrm>
            <a:off x="5174184" y="3717716"/>
            <a:ext cx="4381076" cy="166199"/>
          </a:xfrm>
          <a:prstGeom prst="rect">
            <a:avLst/>
          </a:prstGeom>
        </p:spPr>
        <p:txBody>
          <a:bodyPr vert="horz" wrap="square" lIns="0" tIns="0" rIns="0" bIns="0" rtlCol="0" anchor="t">
            <a:spAutoFit/>
          </a:bodyPr>
          <a:lstStyle>
            <a:lvl1pPr marL="0" indent="0" algn="l" defTabSz="914400" rtl="0" eaLnBrk="1" latinLnBrk="0" hangingPunct="1">
              <a:lnSpc>
                <a:spcPct val="110000"/>
              </a:lnSpc>
              <a:spcBef>
                <a:spcPts val="400"/>
              </a:spcBef>
              <a:spcAft>
                <a:spcPts val="400"/>
              </a:spcAft>
              <a:buFont typeface="Arial" panose="020B0604020202020204" pitchFamily="34" charset="0"/>
              <a:buNone/>
              <a:defRPr sz="1800" b="0" kern="1200">
                <a:solidFill>
                  <a:schemeClr val="tx1">
                    <a:lumMod val="75000"/>
                    <a:lumOff val="25000"/>
                  </a:schemeClr>
                </a:solidFill>
                <a:latin typeface="+mn-lt"/>
                <a:ea typeface="+mn-ea"/>
                <a:cs typeface="+mn-cs"/>
              </a:defRPr>
            </a:lvl1pPr>
            <a:lvl2pPr marL="0" indent="0" algn="l" defTabSz="914400" rtl="0" eaLnBrk="1" latinLnBrk="0" hangingPunct="1">
              <a:lnSpc>
                <a:spcPct val="110000"/>
              </a:lnSpc>
              <a:spcBef>
                <a:spcPts val="400"/>
              </a:spcBef>
              <a:spcAft>
                <a:spcPts val="400"/>
              </a:spcAft>
              <a:buFont typeface="Arial" panose="020B0604020202020204" pitchFamily="34" charset="0"/>
              <a:buNone/>
              <a:defRPr sz="2800" kern="1200">
                <a:solidFill>
                  <a:schemeClr val="tx1">
                    <a:lumMod val="75000"/>
                    <a:lumOff val="25000"/>
                  </a:schemeClr>
                </a:solidFill>
                <a:latin typeface="Graphik Semibold" panose="020B0703030202060203" pitchFamily="34" charset="0"/>
                <a:ea typeface="+mn-ea"/>
                <a:cs typeface="+mn-cs"/>
              </a:defRPr>
            </a:lvl2pPr>
            <a:lvl3pPr marL="180000" indent="-180000" algn="l" defTabSz="914400" rtl="0" eaLnBrk="1" latinLnBrk="0" hangingPunct="1">
              <a:lnSpc>
                <a:spcPct val="110000"/>
              </a:lnSpc>
              <a:spcBef>
                <a:spcPts val="400"/>
              </a:spcBef>
              <a:spcAft>
                <a:spcPts val="400"/>
              </a:spcAft>
              <a:buFont typeface="Arial" panose="020B0604020202020204" pitchFamily="34" charset="0"/>
              <a:buChar char="•"/>
              <a:defRPr sz="1800" kern="1200">
                <a:solidFill>
                  <a:schemeClr val="tx1">
                    <a:lumMod val="75000"/>
                    <a:lumOff val="25000"/>
                  </a:schemeClr>
                </a:solidFill>
                <a:latin typeface="Century Gothic" panose="020B0502020202020204" pitchFamily="34" charset="0"/>
                <a:ea typeface="+mn-ea"/>
                <a:cs typeface="+mn-cs"/>
              </a:defRPr>
            </a:lvl3pPr>
            <a:lvl4pPr marL="360000" indent="-180000" algn="l" defTabSz="914400" rtl="0" eaLnBrk="1" latinLnBrk="0" hangingPunct="1">
              <a:lnSpc>
                <a:spcPct val="110000"/>
              </a:lnSpc>
              <a:spcBef>
                <a:spcPts val="400"/>
              </a:spcBef>
              <a:spcAft>
                <a:spcPts val="400"/>
              </a:spcAft>
              <a:buFont typeface="Arial" panose="020B0604020202020204" pitchFamily="34" charset="0"/>
              <a:buChar char="–"/>
              <a:defRPr sz="1600" kern="1200">
                <a:solidFill>
                  <a:schemeClr val="tx1">
                    <a:lumMod val="75000"/>
                    <a:lumOff val="25000"/>
                  </a:schemeClr>
                </a:solidFill>
                <a:latin typeface="Century Gothic" panose="020B0502020202020204" pitchFamily="34" charset="0"/>
                <a:ea typeface="+mn-ea"/>
                <a:cs typeface="+mn-cs"/>
              </a:defRPr>
            </a:lvl4pPr>
            <a:lvl5pPr marL="543600" indent="-180000" algn="l" defTabSz="914400" rtl="0" eaLnBrk="1" latinLnBrk="0" hangingPunct="1">
              <a:lnSpc>
                <a:spcPct val="110000"/>
              </a:lnSpc>
              <a:spcBef>
                <a:spcPts val="400"/>
              </a:spcBef>
              <a:spcAft>
                <a:spcPts val="400"/>
              </a:spcAft>
              <a:buFont typeface="Arial" panose="020B0604020202020204" pitchFamily="34" charset="0"/>
              <a:buChar char="•"/>
              <a:defRPr sz="1600" kern="1200">
                <a:solidFill>
                  <a:schemeClr val="tx1">
                    <a:lumMod val="75000"/>
                    <a:lumOff val="25000"/>
                  </a:schemeClr>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spcBef>
                <a:spcPct val="0"/>
              </a:spcBef>
              <a:spcAft>
                <a:spcPts val="0"/>
              </a:spcAft>
            </a:pPr>
            <a:r>
              <a:rPr lang="en-SG" sz="1200" b="1">
                <a:solidFill>
                  <a:srgbClr val="777777"/>
                </a:solidFill>
                <a:ea typeface="+mn-lt"/>
                <a:cs typeface="+mn-lt"/>
              </a:rPr>
              <a:t>Events and Networking</a:t>
            </a:r>
            <a:endParaRPr lang="en-US" sz="1200"/>
          </a:p>
        </p:txBody>
      </p:sp>
    </p:spTree>
    <p:extLst>
      <p:ext uri="{BB962C8B-B14F-4D97-AF65-F5344CB8AC3E}">
        <p14:creationId xmlns:p14="http://schemas.microsoft.com/office/powerpoint/2010/main" val="28393142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6596EE5-958E-E242-9699-75C55C024265}"/>
              </a:ext>
            </a:extLst>
          </p:cNvPr>
          <p:cNvSpPr>
            <a:spLocks noGrp="1"/>
          </p:cNvSpPr>
          <p:nvPr>
            <p:ph type="sldNum" sz="quarter" idx="10"/>
          </p:nvPr>
        </p:nvSpPr>
        <p:spPr/>
        <p:txBody>
          <a:bodyPr/>
          <a:lstStyle/>
          <a:p>
            <a:fld id="{FC1BBE33-A891-48E8-970C-4A8D55F96D53}" type="slidenum">
              <a:rPr lang="en-AU" smtClean="0"/>
              <a:pPr/>
              <a:t>14</a:t>
            </a:fld>
            <a:endParaRPr lang="en-AU"/>
          </a:p>
        </p:txBody>
      </p:sp>
      <p:sp>
        <p:nvSpPr>
          <p:cNvPr id="3" name="Title 2">
            <a:extLst>
              <a:ext uri="{FF2B5EF4-FFF2-40B4-BE49-F238E27FC236}">
                <a16:creationId xmlns:a16="http://schemas.microsoft.com/office/drawing/2014/main" id="{179BDE11-5AEE-0044-B838-0A322C2C7044}"/>
              </a:ext>
            </a:extLst>
          </p:cNvPr>
          <p:cNvSpPr>
            <a:spLocks noGrp="1"/>
          </p:cNvSpPr>
          <p:nvPr>
            <p:ph type="title"/>
          </p:nvPr>
        </p:nvSpPr>
        <p:spPr>
          <a:xfrm>
            <a:off x="780853" y="3085627"/>
            <a:ext cx="7477027" cy="517065"/>
          </a:xfrm>
        </p:spPr>
        <p:txBody>
          <a:bodyPr/>
          <a:lstStyle/>
          <a:p>
            <a:r>
              <a:rPr lang="en-GB" dirty="0"/>
              <a:t>Thank you</a:t>
            </a:r>
            <a:endParaRPr lang="en-GB" sz="2300" b="0" dirty="0"/>
          </a:p>
        </p:txBody>
      </p:sp>
    </p:spTree>
    <p:extLst>
      <p:ext uri="{BB962C8B-B14F-4D97-AF65-F5344CB8AC3E}">
        <p14:creationId xmlns:p14="http://schemas.microsoft.com/office/powerpoint/2010/main" val="4662288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C25001E-CF1B-704F-8BE0-C7857833FB47}"/>
              </a:ext>
            </a:extLst>
          </p:cNvPr>
          <p:cNvSpPr>
            <a:spLocks noGrp="1"/>
          </p:cNvSpPr>
          <p:nvPr>
            <p:ph type="title"/>
          </p:nvPr>
        </p:nvSpPr>
        <p:spPr>
          <a:xfrm>
            <a:off x="305554" y="639438"/>
            <a:ext cx="11461245" cy="350819"/>
          </a:xfrm>
        </p:spPr>
        <p:txBody>
          <a:bodyPr>
            <a:spAutoFit/>
          </a:bodyPr>
          <a:lstStyle/>
          <a:p>
            <a:pPr lvl="0">
              <a:buSzPts val="1400"/>
            </a:pPr>
            <a:r>
              <a:rPr lang="en-SG" spc="-27">
                <a:solidFill>
                  <a:schemeClr val="tx1">
                    <a:lumMod val="85000"/>
                    <a:lumOff val="15000"/>
                  </a:schemeClr>
                </a:solidFill>
                <a:latin typeface="Century Gothic" panose="020B0502020202020204" pitchFamily="34" charset="0"/>
              </a:rPr>
              <a:t>Disclaimer</a:t>
            </a:r>
          </a:p>
        </p:txBody>
      </p:sp>
      <p:sp>
        <p:nvSpPr>
          <p:cNvPr id="53" name="Rectangle 52">
            <a:extLst>
              <a:ext uri="{FF2B5EF4-FFF2-40B4-BE49-F238E27FC236}">
                <a16:creationId xmlns:a16="http://schemas.microsoft.com/office/drawing/2014/main" id="{F94A0AD2-7F0E-534D-A412-86831F568F1E}"/>
              </a:ext>
            </a:extLst>
          </p:cNvPr>
          <p:cNvSpPr/>
          <p:nvPr/>
        </p:nvSpPr>
        <p:spPr>
          <a:xfrm>
            <a:off x="553139" y="1284118"/>
            <a:ext cx="11085723" cy="5077652"/>
          </a:xfrm>
          <a:prstGeom prst="rect">
            <a:avLst/>
          </a:prstGeom>
        </p:spPr>
        <p:txBody>
          <a:bodyPr wrap="square" lIns="0" tIns="0" rIns="0" bIns="0">
            <a:spAutoFit/>
          </a:bodyPr>
          <a:lstStyle/>
          <a:p>
            <a:r>
              <a:rPr lang="x-none" sz="1000">
                <a:latin typeface="Century Gothic" panose="020B0502020202020204" pitchFamily="34" charset="0"/>
              </a:rPr>
              <a:t>The information contained in this presentation is strictly confidential (“Confidential Information”) and is provided by </a:t>
            </a:r>
            <a:r>
              <a:rPr lang="en-GB" sz="1000">
                <a:latin typeface="Century Gothic" panose="020B0502020202020204" pitchFamily="34" charset="0"/>
              </a:rPr>
              <a:t>Climate Impact X </a:t>
            </a:r>
            <a:r>
              <a:rPr lang="en-GB" sz="1000" err="1">
                <a:latin typeface="Century Gothic" panose="020B0502020202020204" pitchFamily="34" charset="0"/>
              </a:rPr>
              <a:t>Pte.</a:t>
            </a:r>
            <a:r>
              <a:rPr lang="en-GB" sz="1000">
                <a:latin typeface="Century Gothic" panose="020B0502020202020204" pitchFamily="34" charset="0"/>
              </a:rPr>
              <a:t> Ltd.</a:t>
            </a:r>
            <a:r>
              <a:rPr lang="x-none" sz="1000">
                <a:latin typeface="Century Gothic" panose="020B0502020202020204" pitchFamily="34" charset="0"/>
              </a:rPr>
              <a:t> (the “Company”) to you solely for </a:t>
            </a:r>
            <a:r>
              <a:rPr lang="en-GB" sz="1000">
                <a:latin typeface="Century Gothic" panose="020B0502020202020204" pitchFamily="34" charset="0"/>
              </a:rPr>
              <a:t>general </a:t>
            </a:r>
            <a:r>
              <a:rPr lang="x-none" sz="1000">
                <a:latin typeface="Century Gothic" panose="020B0502020202020204" pitchFamily="34" charset="0"/>
              </a:rPr>
              <a:t>information purposes only. The information in this presentation is being provided to a limited number of persons who may be interested in any potential transaction, collaboration, and/or partnership involving the Company</a:t>
            </a:r>
            <a:r>
              <a:rPr lang="en-GB" sz="1000">
                <a:latin typeface="Century Gothic" panose="020B0502020202020204" pitchFamily="34" charset="0"/>
              </a:rPr>
              <a:t> and/or the subject matter of this presentation (“Subject Matter”)</a:t>
            </a:r>
            <a:r>
              <a:rPr lang="x-none" sz="1000">
                <a:latin typeface="Century Gothic" panose="020B0502020202020204" pitchFamily="34" charset="0"/>
              </a:rPr>
              <a:t>. Neither this presentation nor any part thereof may be (i) used or relied upon by any other party for any other purpose; </a:t>
            </a:r>
            <a:r>
              <a:rPr lang="en-GB" sz="1000">
                <a:latin typeface="Century Gothic" panose="020B0502020202020204" pitchFamily="34" charset="0"/>
              </a:rPr>
              <a:t>or </a:t>
            </a:r>
            <a:r>
              <a:rPr lang="x-none" sz="1000">
                <a:latin typeface="Century Gothic" panose="020B0502020202020204" pitchFamily="34" charset="0"/>
              </a:rPr>
              <a:t>(ii) copied, duplicated or otherwise reproduced</a:t>
            </a:r>
            <a:r>
              <a:rPr lang="en-GB" sz="1000">
                <a:latin typeface="Century Gothic" panose="020B0502020202020204" pitchFamily="34" charset="0"/>
              </a:rPr>
              <a:t>, redistributed or disseminated, directly or indirectly,</a:t>
            </a:r>
            <a:r>
              <a:rPr lang="x-none" sz="1000">
                <a:latin typeface="Century Gothic" panose="020B0502020202020204" pitchFamily="34" charset="0"/>
              </a:rPr>
              <a:t> in any form or by any means</a:t>
            </a:r>
            <a:r>
              <a:rPr lang="en-GB" sz="1000">
                <a:latin typeface="Century Gothic" panose="020B0502020202020204" pitchFamily="34" charset="0"/>
              </a:rPr>
              <a:t> whether in Singapore or elsewhere to any other person.</a:t>
            </a:r>
            <a:endParaRPr lang="en-HK" sz="1000">
              <a:latin typeface="Century Gothic" panose="020B0502020202020204" pitchFamily="34" charset="0"/>
            </a:endParaRPr>
          </a:p>
          <a:p>
            <a:r>
              <a:rPr lang="x-none" sz="1000">
                <a:latin typeface="Century Gothic" panose="020B0502020202020204" pitchFamily="34" charset="0"/>
              </a:rPr>
              <a:t> </a:t>
            </a:r>
            <a:endParaRPr lang="en-HK" sz="1000">
              <a:latin typeface="Century Gothic" panose="020B0502020202020204" pitchFamily="34" charset="0"/>
            </a:endParaRPr>
          </a:p>
          <a:p>
            <a:r>
              <a:rPr lang="en-GB" sz="1000">
                <a:latin typeface="Century Gothic" panose="020B0502020202020204" pitchFamily="34" charset="0"/>
              </a:rPr>
              <a:t>In preparing this presentation, the Company and its Representatives may have relied upon and assumed, without independent verification, the accuracy and completeness of all information available from public sources and certain confidential information made available to the Company and its Representatives.  </a:t>
            </a:r>
            <a:r>
              <a:rPr lang="x-none" sz="1000">
                <a:latin typeface="Century Gothic" panose="020B0502020202020204" pitchFamily="34" charset="0"/>
              </a:rPr>
              <a:t>The Confidential Information is provided as at the date of this presentation and is subject to change without notice, its accuracy is not guaranteed, has not been independently verified and it may not contain all material information concerning the </a:t>
            </a:r>
            <a:r>
              <a:rPr lang="en-GB" sz="1000">
                <a:latin typeface="Century Gothic" panose="020B0502020202020204" pitchFamily="34" charset="0"/>
              </a:rPr>
              <a:t>Subject Matter</a:t>
            </a:r>
            <a:r>
              <a:rPr lang="x-none" sz="1000">
                <a:latin typeface="Century Gothic" panose="020B0502020202020204" pitchFamily="34" charset="0"/>
              </a:rPr>
              <a:t>. The Confidential Information is a summary only and does not purport to </a:t>
            </a:r>
            <a:r>
              <a:rPr lang="en-GB" sz="1000">
                <a:latin typeface="Century Gothic" panose="020B0502020202020204" pitchFamily="34" charset="0"/>
              </a:rPr>
              <a:t>be exhaustive or </a:t>
            </a:r>
            <a:r>
              <a:rPr lang="x-none" sz="1000">
                <a:latin typeface="Century Gothic" panose="020B0502020202020204" pitchFamily="34" charset="0"/>
              </a:rPr>
              <a:t>contain all of the information that </a:t>
            </a:r>
            <a:r>
              <a:rPr lang="en-GB" sz="1000">
                <a:latin typeface="Century Gothic" panose="020B0502020202020204" pitchFamily="34" charset="0"/>
              </a:rPr>
              <a:t>is relevant to the Subject Matter</a:t>
            </a:r>
            <a:r>
              <a:rPr lang="x-none" sz="1000">
                <a:latin typeface="Century Gothic" panose="020B0502020202020204" pitchFamily="34" charset="0"/>
              </a:rPr>
              <a:t>. </a:t>
            </a:r>
            <a:r>
              <a:rPr lang="en-GB" sz="1000">
                <a:latin typeface="Century Gothic" panose="020B0502020202020204" pitchFamily="34" charset="0"/>
              </a:rPr>
              <a:t>This presentation does not take into account any specific investment or other objectives, financial situation or other particular needs of you or any particular person. Further, nothing in this presentation should be construed as constituting legal, business, regulatory or any other professional advice.  Neither the Company nor any of its related corporations or any of their respective directors, officers, employees, consultants, advisors, agents or other representatives (collectively, “Representatives”)  makes any representation or warranty, expressed or implied, with respect to the accuracy or completeness of any information contained herein and undertakes any duty to update such information. </a:t>
            </a:r>
            <a:endParaRPr lang="en-HK" sz="1000">
              <a:latin typeface="Century Gothic" panose="020B0502020202020204" pitchFamily="34" charset="0"/>
            </a:endParaRPr>
          </a:p>
          <a:p>
            <a:r>
              <a:rPr lang="en-GB" sz="1000">
                <a:latin typeface="Century Gothic" panose="020B0502020202020204" pitchFamily="34" charset="0"/>
              </a:rPr>
              <a:t> </a:t>
            </a:r>
            <a:endParaRPr lang="en-HK" sz="1000">
              <a:latin typeface="Century Gothic" panose="020B0502020202020204" pitchFamily="34" charset="0"/>
            </a:endParaRPr>
          </a:p>
          <a:p>
            <a:r>
              <a:rPr lang="en-GB" sz="1000">
                <a:latin typeface="Century Gothic" panose="020B0502020202020204" pitchFamily="34" charset="0"/>
              </a:rPr>
              <a:t>The launch of Climate Impact X, and its joint operation by DBS, SGX, Standard Chartered and Temasek, is subject to all required regulatory approvals/consents being obtained. This presentation and its contents have not been reviewed by any regulatory authority and any definitive transaction, collaboration or other partnership involving the Subject Matter may be subject to regulatory approval and other conditions.  You are entirely responsible for performing your own investigation, due diligence, review and evaluation of the Confidential Information, and in no event shall the Company or any of its Representatives have any liability whatsoever to you in connection with the Confidential Information, your use thereof, or otherwise in connection with this presentation.</a:t>
            </a:r>
            <a:endParaRPr lang="en-HK" sz="1000">
              <a:latin typeface="Century Gothic" panose="020B0502020202020204" pitchFamily="34" charset="0"/>
            </a:endParaRPr>
          </a:p>
          <a:p>
            <a:r>
              <a:rPr lang="en-GB" sz="1000">
                <a:latin typeface="Century Gothic" panose="020B0502020202020204" pitchFamily="34" charset="0"/>
              </a:rPr>
              <a:t> </a:t>
            </a:r>
            <a:endParaRPr lang="en-HK" sz="1000">
              <a:latin typeface="Century Gothic" panose="020B0502020202020204" pitchFamily="34" charset="0"/>
            </a:endParaRPr>
          </a:p>
          <a:p>
            <a:r>
              <a:rPr lang="en-GB" sz="1000">
                <a:latin typeface="Century Gothic" panose="020B0502020202020204" pitchFamily="34" charset="0"/>
              </a:rPr>
              <a:t>The information set out in this presentation is not intended to form the basis of any contract. Nothing contained in this presentation shall compel or oblige you to enter into any discussions, negotiations or the transaction(s) contemplated by this presentation with the Company and nothing contained herein constitutes an offer or other invitation whatsoever by or on behalf of the Company.  You further acknowledge and accept that the Company reserves the right, in its sole discretion, to suspend, modify or terminate at any time any discussions or negotiations with you. </a:t>
            </a:r>
            <a:endParaRPr lang="en-HK" sz="1000">
              <a:latin typeface="Century Gothic" panose="020B0502020202020204" pitchFamily="34" charset="0"/>
            </a:endParaRPr>
          </a:p>
          <a:p>
            <a:r>
              <a:rPr lang="en-GB" sz="1000">
                <a:latin typeface="Century Gothic" panose="020B0502020202020204" pitchFamily="34" charset="0"/>
              </a:rPr>
              <a:t> </a:t>
            </a:r>
            <a:endParaRPr lang="en-HK" sz="1000">
              <a:latin typeface="Century Gothic" panose="020B0502020202020204" pitchFamily="34" charset="0"/>
            </a:endParaRPr>
          </a:p>
          <a:p>
            <a:r>
              <a:rPr lang="en-GB" sz="1000">
                <a:latin typeface="Century Gothic" panose="020B0502020202020204" pitchFamily="34" charset="0"/>
              </a:rPr>
              <a:t>To the maximum extent permitted by all applicable laws, regulations and rules, the Company and its Representatives shall not be liable for any damages or losses (whether direct or indirectly and including any special, incidental, consequential or other losses of any kind), in tort, contract or otherwise (including but not limited to loss of income or profits), arising out of or in connection with any acceptance of or reliance on this presentation or any part thereof by you.</a:t>
            </a:r>
            <a:endParaRPr lang="en-HK" sz="1000">
              <a:latin typeface="Century Gothic" panose="020B0502020202020204" pitchFamily="34" charset="0"/>
            </a:endParaRPr>
          </a:p>
          <a:p>
            <a:r>
              <a:rPr lang="x-none" sz="1000">
                <a:latin typeface="Century Gothic" panose="020B0502020202020204" pitchFamily="34" charset="0"/>
              </a:rPr>
              <a:t> </a:t>
            </a:r>
            <a:endParaRPr lang="en-HK" sz="1000">
              <a:latin typeface="Century Gothic" panose="020B0502020202020204" pitchFamily="34" charset="0"/>
            </a:endParaRPr>
          </a:p>
          <a:p>
            <a:r>
              <a:rPr lang="en-GB" sz="1000">
                <a:latin typeface="Century Gothic" panose="020B0502020202020204" pitchFamily="34" charset="0"/>
              </a:rPr>
              <a:t>This disclaimer extends to any statements, opinions or conclusions contained in, or any omissions from, this presentation or in respect of written or oral communications transmitted or otherwise made available to you.</a:t>
            </a:r>
            <a:endParaRPr lang="en-HK" sz="1000">
              <a:latin typeface="Century Gothic" panose="020B0502020202020204" pitchFamily="34" charset="0"/>
            </a:endParaRPr>
          </a:p>
        </p:txBody>
      </p:sp>
    </p:spTree>
    <p:extLst>
      <p:ext uri="{BB962C8B-B14F-4D97-AF65-F5344CB8AC3E}">
        <p14:creationId xmlns:p14="http://schemas.microsoft.com/office/powerpoint/2010/main" val="25154037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2CF759-168F-4D3D-BE30-F78E4378D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68" imgH="670" progId="TCLayout.ActiveDocument.1">
                  <p:embed/>
                </p:oleObj>
              </mc:Choice>
              <mc:Fallback>
                <p:oleObj name="think-cell Slide" r:id="rId3" imgW="668" imgH="670" progId="TCLayout.ActiveDocument.1">
                  <p:embed/>
                  <p:pic>
                    <p:nvPicPr>
                      <p:cNvPr id="3" name="Object 2" hidden="1">
                        <a:extLst>
                          <a:ext uri="{FF2B5EF4-FFF2-40B4-BE49-F238E27FC236}">
                            <a16:creationId xmlns:a16="http://schemas.microsoft.com/office/drawing/2014/main" id="{512CF759-168F-4D3D-BE30-F78E4378DA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36" name="Picture Placeholder 1035"/>
          <p:cNvPicPr>
            <a:picLocks noGrp="1" noChangeAspect="1"/>
          </p:cNvPicPr>
          <p:nvPr>
            <p:ph type="pic" sz="quarter" idx="14"/>
          </p:nvPr>
        </p:nvPicPr>
        <p:blipFill rotWithShape="1">
          <a:blip r:embed="rId5" cstate="print">
            <a:extLst>
              <a:ext uri="{28A0092B-C50C-407E-A947-70E740481C1C}">
                <a14:useLocalDpi xmlns:a14="http://schemas.microsoft.com/office/drawing/2010/main" val="0"/>
              </a:ext>
            </a:extLst>
          </a:blip>
          <a:srcRect l="13677" t="4589" r="24392"/>
          <a:stretch/>
        </p:blipFill>
        <p:spPr>
          <a:xfrm>
            <a:off x="5186727" y="260350"/>
            <a:ext cx="6743983" cy="6337300"/>
          </a:xfrm>
        </p:spPr>
      </p:pic>
      <p:sp>
        <p:nvSpPr>
          <p:cNvPr id="6" name="Title 5"/>
          <p:cNvSpPr>
            <a:spLocks noGrp="1"/>
          </p:cNvSpPr>
          <p:nvPr>
            <p:ph type="title"/>
          </p:nvPr>
        </p:nvSpPr>
        <p:spPr>
          <a:xfrm>
            <a:off x="496593" y="1180250"/>
            <a:ext cx="11282072" cy="443198"/>
          </a:xfrm>
        </p:spPr>
        <p:txBody>
          <a:bodyPr vert="horz"/>
          <a:lstStyle/>
          <a:p>
            <a:r>
              <a:rPr lang="en-AU" sz="3500" dirty="0"/>
              <a:t>CLIMATE IMPACT X </a:t>
            </a:r>
          </a:p>
        </p:txBody>
      </p:sp>
      <p:grpSp>
        <p:nvGrpSpPr>
          <p:cNvPr id="18" name="Group 17"/>
          <p:cNvGrpSpPr/>
          <p:nvPr/>
        </p:nvGrpSpPr>
        <p:grpSpPr>
          <a:xfrm>
            <a:off x="440761" y="5916904"/>
            <a:ext cx="4212777" cy="508378"/>
            <a:chOff x="762000" y="5592233"/>
            <a:chExt cx="4032250" cy="464080"/>
          </a:xfrm>
        </p:grpSpPr>
        <p:sp>
          <p:nvSpPr>
            <p:cNvPr id="4" name="Rectangle 3"/>
            <p:cNvSpPr/>
            <p:nvPr/>
          </p:nvSpPr>
          <p:spPr>
            <a:xfrm>
              <a:off x="762000" y="5592233"/>
              <a:ext cx="4032250" cy="464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p>
          </p:txBody>
        </p:sp>
        <p:pic>
          <p:nvPicPr>
            <p:cNvPr id="85" name="Picture 84"/>
            <p:cNvPicPr>
              <a:picLocks noChangeAspect="1"/>
            </p:cNvPicPr>
            <p:nvPr/>
          </p:nvPicPr>
          <p:blipFill>
            <a:blip r:embed="rId6"/>
            <a:stretch>
              <a:fillRect/>
            </a:stretch>
          </p:blipFill>
          <p:spPr>
            <a:xfrm>
              <a:off x="1792778" y="5730243"/>
              <a:ext cx="661322" cy="188060"/>
            </a:xfrm>
            <a:prstGeom prst="rect">
              <a:avLst/>
            </a:prstGeom>
          </p:spPr>
        </p:pic>
        <p:pic>
          <p:nvPicPr>
            <p:cNvPr id="86" name="Picture 85"/>
            <p:cNvPicPr>
              <a:picLocks noChangeAspect="1"/>
            </p:cNvPicPr>
            <p:nvPr/>
          </p:nvPicPr>
          <p:blipFill>
            <a:blip r:embed="rId7"/>
            <a:stretch>
              <a:fillRect/>
            </a:stretch>
          </p:blipFill>
          <p:spPr>
            <a:xfrm>
              <a:off x="907530" y="5722324"/>
              <a:ext cx="706753" cy="203898"/>
            </a:xfrm>
            <a:prstGeom prst="rect">
              <a:avLst/>
            </a:prstGeom>
          </p:spPr>
        </p:pic>
        <p:pic>
          <p:nvPicPr>
            <p:cNvPr id="16" name="Picture 15"/>
            <p:cNvPicPr>
              <a:picLocks noChangeAspect="1"/>
            </p:cNvPicPr>
            <p:nvPr/>
          </p:nvPicPr>
          <p:blipFill>
            <a:blip r:embed="rId8"/>
            <a:stretch>
              <a:fillRect/>
            </a:stretch>
          </p:blipFill>
          <p:spPr>
            <a:xfrm>
              <a:off x="3585421" y="5750050"/>
              <a:ext cx="1075482" cy="148447"/>
            </a:xfrm>
            <a:prstGeom prst="rect">
              <a:avLst/>
            </a:prstGeom>
          </p:spPr>
        </p:pic>
        <p:pic>
          <p:nvPicPr>
            <p:cNvPr id="87" name="Picture 86"/>
            <p:cNvPicPr>
              <a:picLocks noChangeAspect="1"/>
            </p:cNvPicPr>
            <p:nvPr/>
          </p:nvPicPr>
          <p:blipFill>
            <a:blip r:embed="rId9"/>
            <a:stretch>
              <a:fillRect/>
            </a:stretch>
          </p:blipFill>
          <p:spPr>
            <a:xfrm>
              <a:off x="2686733" y="5688169"/>
              <a:ext cx="693124" cy="272208"/>
            </a:xfrm>
            <a:prstGeom prst="rect">
              <a:avLst/>
            </a:prstGeom>
          </p:spPr>
        </p:pic>
      </p:grpSp>
      <p:sp>
        <p:nvSpPr>
          <p:cNvPr id="13" name="Text Placeholder 7">
            <a:extLst>
              <a:ext uri="{FF2B5EF4-FFF2-40B4-BE49-F238E27FC236}">
                <a16:creationId xmlns:a16="http://schemas.microsoft.com/office/drawing/2014/main" id="{5E64ACAF-FF83-4253-AC1C-BF9077D993F2}"/>
              </a:ext>
            </a:extLst>
          </p:cNvPr>
          <p:cNvSpPr>
            <a:spLocks noGrp="1"/>
          </p:cNvSpPr>
          <p:nvPr>
            <p:ph type="body" sz="quarter" idx="37"/>
          </p:nvPr>
        </p:nvSpPr>
        <p:spPr>
          <a:xfrm>
            <a:off x="864152" y="2190560"/>
            <a:ext cx="3418808" cy="2540439"/>
          </a:xfrm>
        </p:spPr>
        <p:txBody>
          <a:bodyPr/>
          <a:lstStyle/>
          <a:p>
            <a:r>
              <a:rPr lang="en-AU" sz="1600" dirty="0"/>
              <a:t>A global carbon marketplace and exchange, CIX is </a:t>
            </a:r>
            <a:r>
              <a:rPr lang="en-US" sz="1600" dirty="0"/>
              <a:t>accelerating impact by increasing </a:t>
            </a:r>
            <a:r>
              <a:rPr lang="en-US" sz="1600" b="1" dirty="0"/>
              <a:t>access</a:t>
            </a:r>
            <a:r>
              <a:rPr lang="en-US" sz="1600" dirty="0"/>
              <a:t> to </a:t>
            </a:r>
            <a:r>
              <a:rPr lang="en-US" sz="1600" b="1" dirty="0"/>
              <a:t>quality</a:t>
            </a:r>
            <a:r>
              <a:rPr lang="en-US" sz="1600" dirty="0"/>
              <a:t> carbon credits worldwide. </a:t>
            </a:r>
          </a:p>
          <a:p>
            <a:endParaRPr lang="en-US" sz="1600" dirty="0"/>
          </a:p>
          <a:p>
            <a:r>
              <a:rPr lang="en-AU" sz="1600" dirty="0"/>
              <a:t>CIX will help scale the voluntary carbon market with </a:t>
            </a:r>
            <a:r>
              <a:rPr lang="en-AU" sz="1600" b="1" dirty="0"/>
              <a:t>transparency</a:t>
            </a:r>
            <a:r>
              <a:rPr lang="en-AU" sz="1600" dirty="0"/>
              <a:t>, </a:t>
            </a:r>
            <a:r>
              <a:rPr lang="en-AU" sz="1600" b="1" dirty="0"/>
              <a:t>integrity</a:t>
            </a:r>
            <a:r>
              <a:rPr lang="en-AU" sz="1600" dirty="0"/>
              <a:t> and </a:t>
            </a:r>
            <a:r>
              <a:rPr lang="en-AU" sz="1600" b="1" dirty="0"/>
              <a:t>trust</a:t>
            </a:r>
            <a:r>
              <a:rPr lang="en-AU" sz="1600" dirty="0"/>
              <a:t>. </a:t>
            </a:r>
          </a:p>
        </p:txBody>
      </p:sp>
      <p:sp>
        <p:nvSpPr>
          <p:cNvPr id="14" name="TextBox 13">
            <a:extLst>
              <a:ext uri="{FF2B5EF4-FFF2-40B4-BE49-F238E27FC236}">
                <a16:creationId xmlns:a16="http://schemas.microsoft.com/office/drawing/2014/main" id="{C29EC451-2812-4AE3-9E16-11F156FC65FF}"/>
              </a:ext>
            </a:extLst>
          </p:cNvPr>
          <p:cNvSpPr txBox="1"/>
          <p:nvPr/>
        </p:nvSpPr>
        <p:spPr>
          <a:xfrm>
            <a:off x="343329" y="5587846"/>
            <a:ext cx="6094520" cy="276999"/>
          </a:xfrm>
          <a:prstGeom prst="rect">
            <a:avLst/>
          </a:prstGeom>
          <a:noFill/>
        </p:spPr>
        <p:txBody>
          <a:bodyPr wrap="square">
            <a:spAutoFit/>
          </a:bodyPr>
          <a:lstStyle/>
          <a:p>
            <a:r>
              <a:rPr lang="en-AU" sz="1200">
                <a:solidFill>
                  <a:schemeClr val="bg1"/>
                </a:solidFill>
              </a:rPr>
              <a:t>Jointly established by:</a:t>
            </a:r>
          </a:p>
        </p:txBody>
      </p:sp>
      <p:pic>
        <p:nvPicPr>
          <p:cNvPr id="12" name="Graphic 11">
            <a:extLst>
              <a:ext uri="{FF2B5EF4-FFF2-40B4-BE49-F238E27FC236}">
                <a16:creationId xmlns:a16="http://schemas.microsoft.com/office/drawing/2014/main" id="{CFCBB4AF-6FBF-4BBC-A855-D401DDFABD22}"/>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40762" y="473257"/>
            <a:ext cx="466769" cy="466769"/>
          </a:xfrm>
          <a:prstGeom prst="rect">
            <a:avLst/>
          </a:prstGeom>
        </p:spPr>
      </p:pic>
    </p:spTree>
    <p:extLst>
      <p:ext uri="{BB962C8B-B14F-4D97-AF65-F5344CB8AC3E}">
        <p14:creationId xmlns:p14="http://schemas.microsoft.com/office/powerpoint/2010/main" val="171121449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9E810CC-2B68-4C50-B7BA-8B4C9D0781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29E810CC-2B68-4C50-B7BA-8B4C9D0781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8E21E70-BAC3-4D15-8CED-1436C4C061D6}"/>
              </a:ext>
            </a:extLst>
          </p:cNvPr>
          <p:cNvSpPr>
            <a:spLocks noGrp="1"/>
          </p:cNvSpPr>
          <p:nvPr>
            <p:ph type="title"/>
          </p:nvPr>
        </p:nvSpPr>
        <p:spPr/>
        <p:txBody>
          <a:bodyPr vert="horz"/>
          <a:lstStyle/>
          <a:p>
            <a:r>
              <a:rPr lang="en-GB" dirty="0"/>
              <a:t>What is a carbon credit?</a:t>
            </a:r>
            <a:endParaRPr lang="en-SG" dirty="0"/>
          </a:p>
        </p:txBody>
      </p:sp>
      <p:sp>
        <p:nvSpPr>
          <p:cNvPr id="3" name="Slide Number Placeholder 2">
            <a:extLst>
              <a:ext uri="{FF2B5EF4-FFF2-40B4-BE49-F238E27FC236}">
                <a16:creationId xmlns:a16="http://schemas.microsoft.com/office/drawing/2014/main" id="{A4396510-7024-4C3E-B95A-DB58D640BD88}"/>
              </a:ext>
            </a:extLst>
          </p:cNvPr>
          <p:cNvSpPr>
            <a:spLocks noGrp="1"/>
          </p:cNvSpPr>
          <p:nvPr>
            <p:ph type="sldNum" sz="quarter" idx="10"/>
          </p:nvPr>
        </p:nvSpPr>
        <p:spPr/>
        <p:txBody>
          <a:bodyPr/>
          <a:lstStyle/>
          <a:p>
            <a:fld id="{FC1BBE33-A891-48E8-970C-4A8D55F96D53}" type="slidenum">
              <a:rPr lang="en-AU" smtClean="0"/>
              <a:pPr/>
              <a:t>3</a:t>
            </a:fld>
            <a:endParaRPr lang="en-AU"/>
          </a:p>
        </p:txBody>
      </p:sp>
      <p:sp>
        <p:nvSpPr>
          <p:cNvPr id="4" name="Text Placeholder 3">
            <a:extLst>
              <a:ext uri="{FF2B5EF4-FFF2-40B4-BE49-F238E27FC236}">
                <a16:creationId xmlns:a16="http://schemas.microsoft.com/office/drawing/2014/main" id="{97A325EC-3DC5-476E-B15A-4E252D2567DB}"/>
              </a:ext>
            </a:extLst>
          </p:cNvPr>
          <p:cNvSpPr>
            <a:spLocks noGrp="1"/>
          </p:cNvSpPr>
          <p:nvPr>
            <p:ph type="body" sz="quarter" idx="51"/>
          </p:nvPr>
        </p:nvSpPr>
        <p:spPr>
          <a:xfrm>
            <a:off x="359998" y="805904"/>
            <a:ext cx="7392523" cy="583558"/>
          </a:xfrm>
        </p:spPr>
        <p:txBody>
          <a:bodyPr/>
          <a:lstStyle/>
          <a:p>
            <a:r>
              <a:rPr lang="en-GB" b="1" dirty="0"/>
              <a:t>A carbon credit represents one tonne of reduced or avoided CO</a:t>
            </a:r>
            <a:r>
              <a:rPr lang="en-GB" b="1" baseline="-25000" dirty="0"/>
              <a:t>2</a:t>
            </a:r>
            <a:r>
              <a:rPr lang="en-GB" b="1" dirty="0"/>
              <a:t> emissions from a verified climate action project.</a:t>
            </a:r>
          </a:p>
        </p:txBody>
      </p:sp>
      <p:pic>
        <p:nvPicPr>
          <p:cNvPr id="38" name="Graphic 37" descr="Solar Panels outline">
            <a:extLst>
              <a:ext uri="{FF2B5EF4-FFF2-40B4-BE49-F238E27FC236}">
                <a16:creationId xmlns:a16="http://schemas.microsoft.com/office/drawing/2014/main" id="{B7EF5429-4EDD-1EF2-C4FD-D09425ED7FD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023061" y="3615606"/>
            <a:ext cx="689300" cy="734158"/>
          </a:xfrm>
          <a:prstGeom prst="rect">
            <a:avLst/>
          </a:prstGeom>
        </p:spPr>
      </p:pic>
      <p:pic>
        <p:nvPicPr>
          <p:cNvPr id="39" name="Graphic 38" descr="Wind Turbines outline">
            <a:extLst>
              <a:ext uri="{FF2B5EF4-FFF2-40B4-BE49-F238E27FC236}">
                <a16:creationId xmlns:a16="http://schemas.microsoft.com/office/drawing/2014/main" id="{D9C126D1-B9C9-2A61-CF1D-1FF704939A0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601895" y="3505307"/>
            <a:ext cx="807630" cy="788811"/>
          </a:xfrm>
          <a:prstGeom prst="rect">
            <a:avLst/>
          </a:prstGeom>
        </p:spPr>
      </p:pic>
      <p:pic>
        <p:nvPicPr>
          <p:cNvPr id="40" name="Graphic 39" descr="Tree With Roots outline">
            <a:extLst>
              <a:ext uri="{FF2B5EF4-FFF2-40B4-BE49-F238E27FC236}">
                <a16:creationId xmlns:a16="http://schemas.microsoft.com/office/drawing/2014/main" id="{98F3C482-63E8-14D0-450C-FEDD6F5C5BB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380765" y="3597112"/>
            <a:ext cx="689300" cy="734158"/>
          </a:xfrm>
          <a:prstGeom prst="rect">
            <a:avLst/>
          </a:prstGeom>
        </p:spPr>
      </p:pic>
      <p:pic>
        <p:nvPicPr>
          <p:cNvPr id="41" name="Graphic 40" descr="For Sale outline">
            <a:extLst>
              <a:ext uri="{FF2B5EF4-FFF2-40B4-BE49-F238E27FC236}">
                <a16:creationId xmlns:a16="http://schemas.microsoft.com/office/drawing/2014/main" id="{53CCC793-5B5B-B5E7-EDFF-416196C9B17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332288" y="3438494"/>
            <a:ext cx="689300" cy="900091"/>
          </a:xfrm>
          <a:prstGeom prst="rect">
            <a:avLst/>
          </a:prstGeom>
        </p:spPr>
      </p:pic>
      <p:pic>
        <p:nvPicPr>
          <p:cNvPr id="42" name="Graphic 41" descr="Power Plant outline">
            <a:extLst>
              <a:ext uri="{FF2B5EF4-FFF2-40B4-BE49-F238E27FC236}">
                <a16:creationId xmlns:a16="http://schemas.microsoft.com/office/drawing/2014/main" id="{7AFB5555-A2C0-D74A-FF14-175E6E76AD4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988059" y="3241806"/>
            <a:ext cx="689300" cy="1097748"/>
          </a:xfrm>
          <a:prstGeom prst="rect">
            <a:avLst/>
          </a:prstGeom>
        </p:spPr>
      </p:pic>
      <p:pic>
        <p:nvPicPr>
          <p:cNvPr id="43" name="Graphic 42" descr="Take Off outline">
            <a:extLst>
              <a:ext uri="{FF2B5EF4-FFF2-40B4-BE49-F238E27FC236}">
                <a16:creationId xmlns:a16="http://schemas.microsoft.com/office/drawing/2014/main" id="{1DDE97B7-C89C-DCAD-CE81-76BDC2F0FBD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660468" y="3541647"/>
            <a:ext cx="689300" cy="900091"/>
          </a:xfrm>
          <a:prstGeom prst="rect">
            <a:avLst/>
          </a:prstGeom>
        </p:spPr>
      </p:pic>
      <p:sp>
        <p:nvSpPr>
          <p:cNvPr id="44" name="TextBox 43">
            <a:extLst>
              <a:ext uri="{FF2B5EF4-FFF2-40B4-BE49-F238E27FC236}">
                <a16:creationId xmlns:a16="http://schemas.microsoft.com/office/drawing/2014/main" id="{599C27DA-E431-7AA3-EFD5-DB9F395E1C71}"/>
              </a:ext>
            </a:extLst>
          </p:cNvPr>
          <p:cNvSpPr txBox="1"/>
          <p:nvPr/>
        </p:nvSpPr>
        <p:spPr>
          <a:xfrm>
            <a:off x="891709" y="4515237"/>
            <a:ext cx="3324668" cy="646331"/>
          </a:xfrm>
          <a:prstGeom prst="rect">
            <a:avLst/>
          </a:prstGeom>
          <a:noFill/>
        </p:spPr>
        <p:txBody>
          <a:bodyPr wrap="square" lIns="0" tIns="0" rIns="0" bIns="0" rtlCol="0">
            <a:spAutoFit/>
          </a:bodyPr>
          <a:lstStyle/>
          <a:p>
            <a:pPr algn="l"/>
            <a:r>
              <a:rPr lang="en-SG" sz="1400" b="1">
                <a:solidFill>
                  <a:schemeClr val="tx1">
                    <a:lumMod val="75000"/>
                    <a:lumOff val="25000"/>
                  </a:schemeClr>
                </a:solidFill>
              </a:rPr>
              <a:t>1. </a:t>
            </a:r>
            <a:r>
              <a:rPr lang="en-SG" sz="1400">
                <a:solidFill>
                  <a:schemeClr val="tx1">
                    <a:lumMod val="75000"/>
                    <a:lumOff val="25000"/>
                  </a:schemeClr>
                </a:solidFill>
              </a:rPr>
              <a:t>Business activities result in GHG emissions, and </a:t>
            </a:r>
            <a:r>
              <a:rPr lang="en-SG" sz="1400" b="1">
                <a:solidFill>
                  <a:srgbClr val="C00000"/>
                </a:solidFill>
              </a:rPr>
              <a:t>some of these emissions are harder to abate</a:t>
            </a:r>
            <a:r>
              <a:rPr lang="en-SG" sz="1400">
                <a:solidFill>
                  <a:schemeClr val="tx1">
                    <a:lumMod val="75000"/>
                    <a:lumOff val="25000"/>
                  </a:schemeClr>
                </a:solidFill>
              </a:rPr>
              <a:t>. </a:t>
            </a:r>
          </a:p>
        </p:txBody>
      </p:sp>
      <p:sp>
        <p:nvSpPr>
          <p:cNvPr id="45" name="TextBox 44">
            <a:extLst>
              <a:ext uri="{FF2B5EF4-FFF2-40B4-BE49-F238E27FC236}">
                <a16:creationId xmlns:a16="http://schemas.microsoft.com/office/drawing/2014/main" id="{8044F2EE-424F-C62F-C021-0FA07579ECBF}"/>
              </a:ext>
            </a:extLst>
          </p:cNvPr>
          <p:cNvSpPr txBox="1"/>
          <p:nvPr/>
        </p:nvSpPr>
        <p:spPr>
          <a:xfrm>
            <a:off x="4386652" y="5550619"/>
            <a:ext cx="2962610" cy="861774"/>
          </a:xfrm>
          <a:prstGeom prst="rect">
            <a:avLst/>
          </a:prstGeom>
          <a:noFill/>
        </p:spPr>
        <p:txBody>
          <a:bodyPr wrap="square" lIns="0" tIns="0" rIns="0" bIns="0" rtlCol="0">
            <a:spAutoFit/>
          </a:bodyPr>
          <a:lstStyle/>
          <a:p>
            <a:pPr algn="l"/>
            <a:r>
              <a:rPr lang="en-SG" sz="1400" b="1">
                <a:solidFill>
                  <a:schemeClr val="tx1">
                    <a:lumMod val="75000"/>
                    <a:lumOff val="25000"/>
                  </a:schemeClr>
                </a:solidFill>
              </a:rPr>
              <a:t>3. </a:t>
            </a:r>
            <a:r>
              <a:rPr lang="en-SG" sz="1400" b="1">
                <a:solidFill>
                  <a:schemeClr val="accent4"/>
                </a:solidFill>
              </a:rPr>
              <a:t>Offsets are retired </a:t>
            </a:r>
            <a:r>
              <a:rPr lang="en-SG" sz="1400">
                <a:solidFill>
                  <a:schemeClr val="tx1">
                    <a:lumMod val="75000"/>
                    <a:lumOff val="25000"/>
                  </a:schemeClr>
                </a:solidFill>
              </a:rPr>
              <a:t>to demonstrate that the amount of GHG emissions have been accounted for. </a:t>
            </a:r>
          </a:p>
        </p:txBody>
      </p:sp>
      <p:sp>
        <p:nvSpPr>
          <p:cNvPr id="46" name="TextBox 45">
            <a:extLst>
              <a:ext uri="{FF2B5EF4-FFF2-40B4-BE49-F238E27FC236}">
                <a16:creationId xmlns:a16="http://schemas.microsoft.com/office/drawing/2014/main" id="{C6F24D4C-AEF2-DC6D-D8C0-AEDF44417476}"/>
              </a:ext>
            </a:extLst>
          </p:cNvPr>
          <p:cNvSpPr txBox="1"/>
          <p:nvPr/>
        </p:nvSpPr>
        <p:spPr>
          <a:xfrm>
            <a:off x="7747308" y="4515237"/>
            <a:ext cx="3966719" cy="861774"/>
          </a:xfrm>
          <a:prstGeom prst="rect">
            <a:avLst/>
          </a:prstGeom>
          <a:noFill/>
        </p:spPr>
        <p:txBody>
          <a:bodyPr wrap="square" lIns="0" tIns="0" rIns="0" bIns="0" rtlCol="0">
            <a:spAutoFit/>
          </a:bodyPr>
          <a:lstStyle/>
          <a:p>
            <a:r>
              <a:rPr lang="en-SG" sz="1400" b="1">
                <a:solidFill>
                  <a:schemeClr val="tx1">
                    <a:lumMod val="75000"/>
                    <a:lumOff val="25000"/>
                  </a:schemeClr>
                </a:solidFill>
              </a:rPr>
              <a:t>2. </a:t>
            </a:r>
            <a:r>
              <a:rPr lang="en-SG" sz="1400">
                <a:solidFill>
                  <a:schemeClr val="tx1">
                    <a:lumMod val="75000"/>
                    <a:lumOff val="25000"/>
                  </a:schemeClr>
                </a:solidFill>
              </a:rPr>
              <a:t>Companies can compensate these hard-to-abate emissions by buying carbon offsets from </a:t>
            </a:r>
            <a:r>
              <a:rPr lang="en-SG" sz="1400" b="1">
                <a:solidFill>
                  <a:srgbClr val="00B050"/>
                </a:solidFill>
              </a:rPr>
              <a:t>projects that remove GHG from the atmosphere or avoid more GHG emissions.</a:t>
            </a:r>
          </a:p>
        </p:txBody>
      </p:sp>
      <p:sp>
        <p:nvSpPr>
          <p:cNvPr id="47" name="TextBox 46">
            <a:extLst>
              <a:ext uri="{FF2B5EF4-FFF2-40B4-BE49-F238E27FC236}">
                <a16:creationId xmlns:a16="http://schemas.microsoft.com/office/drawing/2014/main" id="{7F6074DB-1460-12EE-4359-0D21C0EB1373}"/>
              </a:ext>
            </a:extLst>
          </p:cNvPr>
          <p:cNvSpPr txBox="1"/>
          <p:nvPr/>
        </p:nvSpPr>
        <p:spPr>
          <a:xfrm>
            <a:off x="4286326" y="3208411"/>
            <a:ext cx="3127166" cy="840230"/>
          </a:xfrm>
          <a:prstGeom prst="rect">
            <a:avLst/>
          </a:prstGeom>
          <a:noFill/>
        </p:spPr>
        <p:txBody>
          <a:bodyPr wrap="square">
            <a:sp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1800" b="0" i="0" u="none" strike="noStrike" kern="1200" cap="none" spc="0" normalizeH="0" baseline="0" noProof="0">
                <a:ln>
                  <a:noFill/>
                </a:ln>
                <a:solidFill>
                  <a:schemeClr val="tx1"/>
                </a:solidFill>
                <a:effectLst/>
                <a:uLnTx/>
                <a:uFillTx/>
                <a:latin typeface="Century Gothic" panose="020F0302020204030204"/>
                <a:ea typeface="+mj-ea"/>
                <a:cs typeface="+mj-cs"/>
              </a:rPr>
              <a:t>Carbon credits provide vital </a:t>
            </a:r>
            <a:r>
              <a:rPr kumimoji="0" lang="en-GB" sz="1800" b="1" i="0" u="none" strike="noStrike" kern="1200" cap="none" spc="0" normalizeH="0" baseline="0" noProof="0">
                <a:ln>
                  <a:noFill/>
                </a:ln>
                <a:solidFill>
                  <a:schemeClr val="accent5"/>
                </a:solidFill>
                <a:effectLst/>
                <a:uLnTx/>
                <a:uFillTx/>
                <a:latin typeface="Century Gothic" panose="020F0302020204030204"/>
                <a:ea typeface="+mj-ea"/>
                <a:cs typeface="+mj-cs"/>
              </a:rPr>
              <a:t>income</a:t>
            </a:r>
            <a:r>
              <a:rPr kumimoji="0" lang="en-GB" sz="1800" b="0" i="0" u="none" strike="noStrike" kern="1200" cap="none" spc="0" normalizeH="0" baseline="0" noProof="0">
                <a:ln>
                  <a:noFill/>
                </a:ln>
                <a:solidFill>
                  <a:schemeClr val="tx1"/>
                </a:solidFill>
                <a:effectLst/>
                <a:uLnTx/>
                <a:uFillTx/>
                <a:latin typeface="Century Gothic" panose="020F0302020204030204"/>
                <a:ea typeface="+mj-ea"/>
                <a:cs typeface="+mj-cs"/>
              </a:rPr>
              <a:t> for climate projects, not just funding.</a:t>
            </a:r>
          </a:p>
        </p:txBody>
      </p:sp>
      <p:grpSp>
        <p:nvGrpSpPr>
          <p:cNvPr id="48" name="Group 47">
            <a:extLst>
              <a:ext uri="{FF2B5EF4-FFF2-40B4-BE49-F238E27FC236}">
                <a16:creationId xmlns:a16="http://schemas.microsoft.com/office/drawing/2014/main" id="{532C9DDE-6BDB-2EAA-7FDD-71301FB32921}"/>
              </a:ext>
            </a:extLst>
          </p:cNvPr>
          <p:cNvGrpSpPr/>
          <p:nvPr/>
        </p:nvGrpSpPr>
        <p:grpSpPr>
          <a:xfrm>
            <a:off x="4941237" y="1347623"/>
            <a:ext cx="2080351" cy="1541393"/>
            <a:chOff x="4908099" y="1537909"/>
            <a:chExt cx="1751425" cy="1297682"/>
          </a:xfrm>
        </p:grpSpPr>
        <p:pic>
          <p:nvPicPr>
            <p:cNvPr id="49" name="Graphic 48" descr="Cloud with solid fill">
              <a:extLst>
                <a:ext uri="{FF2B5EF4-FFF2-40B4-BE49-F238E27FC236}">
                  <a16:creationId xmlns:a16="http://schemas.microsoft.com/office/drawing/2014/main" id="{9A016412-9C19-2F60-8664-65A5294A02A5}"/>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361842" y="1537909"/>
              <a:ext cx="1297682" cy="1297682"/>
            </a:xfrm>
            <a:prstGeom prst="rect">
              <a:avLst/>
            </a:prstGeom>
          </p:spPr>
        </p:pic>
        <p:pic>
          <p:nvPicPr>
            <p:cNvPr id="50" name="Graphic 49" descr="Cloud with solid fill">
              <a:extLst>
                <a:ext uri="{FF2B5EF4-FFF2-40B4-BE49-F238E27FC236}">
                  <a16:creationId xmlns:a16="http://schemas.microsoft.com/office/drawing/2014/main" id="{B99FC2E1-C428-69E8-A933-A7D2DA4FF44C}"/>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4908099" y="1889038"/>
              <a:ext cx="914400" cy="914400"/>
            </a:xfrm>
            <a:prstGeom prst="rect">
              <a:avLst/>
            </a:prstGeom>
          </p:spPr>
        </p:pic>
        <p:pic>
          <p:nvPicPr>
            <p:cNvPr id="51" name="Graphic 50" descr="Cloud with solid fill">
              <a:extLst>
                <a:ext uri="{FF2B5EF4-FFF2-40B4-BE49-F238E27FC236}">
                  <a16:creationId xmlns:a16="http://schemas.microsoft.com/office/drawing/2014/main" id="{6635505B-CB91-F89E-89F9-83FD3EAB323D}"/>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5361842" y="2093072"/>
              <a:ext cx="734158" cy="734158"/>
            </a:xfrm>
            <a:prstGeom prst="rect">
              <a:avLst/>
            </a:prstGeom>
          </p:spPr>
        </p:pic>
      </p:grpSp>
      <p:sp>
        <p:nvSpPr>
          <p:cNvPr id="52" name="Arc 51">
            <a:extLst>
              <a:ext uri="{FF2B5EF4-FFF2-40B4-BE49-F238E27FC236}">
                <a16:creationId xmlns:a16="http://schemas.microsoft.com/office/drawing/2014/main" id="{CAE301F5-DF13-8C9B-0531-E442A4650A7C}"/>
              </a:ext>
            </a:extLst>
          </p:cNvPr>
          <p:cNvSpPr/>
          <p:nvPr/>
        </p:nvSpPr>
        <p:spPr>
          <a:xfrm rot="17100000">
            <a:off x="3461933" y="2254206"/>
            <a:ext cx="1849438" cy="1849438"/>
          </a:xfrm>
          <a:prstGeom prst="arc">
            <a:avLst>
              <a:gd name="adj1" fmla="val 16200000"/>
              <a:gd name="adj2" fmla="val 20698741"/>
            </a:avLst>
          </a:prstGeom>
          <a:ln w="63500">
            <a:solidFill>
              <a:schemeClr val="bg1">
                <a:lumMod val="85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3" name="Arc 52">
            <a:extLst>
              <a:ext uri="{FF2B5EF4-FFF2-40B4-BE49-F238E27FC236}">
                <a16:creationId xmlns:a16="http://schemas.microsoft.com/office/drawing/2014/main" id="{23C0693F-8033-1BB5-FA74-672CC0159D83}"/>
              </a:ext>
            </a:extLst>
          </p:cNvPr>
          <p:cNvSpPr/>
          <p:nvPr/>
        </p:nvSpPr>
        <p:spPr>
          <a:xfrm>
            <a:off x="6635827" y="2257721"/>
            <a:ext cx="1849438" cy="1849438"/>
          </a:xfrm>
          <a:prstGeom prst="arc">
            <a:avLst>
              <a:gd name="adj1" fmla="val 16200000"/>
              <a:gd name="adj2" fmla="val 20698741"/>
            </a:avLst>
          </a:prstGeom>
          <a:ln w="63500">
            <a:solidFill>
              <a:schemeClr val="bg1">
                <a:lumMod val="85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4" name="Arc 53">
            <a:extLst>
              <a:ext uri="{FF2B5EF4-FFF2-40B4-BE49-F238E27FC236}">
                <a16:creationId xmlns:a16="http://schemas.microsoft.com/office/drawing/2014/main" id="{140B3D05-BCD0-C526-2E26-D73BE1154CB3}"/>
              </a:ext>
            </a:extLst>
          </p:cNvPr>
          <p:cNvSpPr/>
          <p:nvPr/>
        </p:nvSpPr>
        <p:spPr>
          <a:xfrm rot="9000000">
            <a:off x="5056984" y="3256885"/>
            <a:ext cx="1849438" cy="1849438"/>
          </a:xfrm>
          <a:prstGeom prst="arc">
            <a:avLst>
              <a:gd name="adj1" fmla="val 16200000"/>
              <a:gd name="adj2" fmla="val 20698741"/>
            </a:avLst>
          </a:prstGeom>
          <a:ln w="63500">
            <a:solidFill>
              <a:schemeClr val="bg1">
                <a:lumMod val="85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5" name="Oval 54">
            <a:extLst>
              <a:ext uri="{FF2B5EF4-FFF2-40B4-BE49-F238E27FC236}">
                <a16:creationId xmlns:a16="http://schemas.microsoft.com/office/drawing/2014/main" id="{D1254CF3-50C0-5C8C-2359-6C29AF434FFA}"/>
              </a:ext>
            </a:extLst>
          </p:cNvPr>
          <p:cNvSpPr/>
          <p:nvPr/>
        </p:nvSpPr>
        <p:spPr>
          <a:xfrm>
            <a:off x="2134295" y="1665293"/>
            <a:ext cx="1086128" cy="1085933"/>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SG" sz="1600" b="1">
                <a:solidFill>
                  <a:schemeClr val="accent6">
                    <a:lumMod val="40000"/>
                    <a:lumOff val="60000"/>
                  </a:schemeClr>
                </a:solidFill>
              </a:rPr>
              <a:t>+ CO</a:t>
            </a:r>
            <a:r>
              <a:rPr lang="en-SG" sz="1600" b="1" baseline="-25000">
                <a:solidFill>
                  <a:schemeClr val="accent6">
                    <a:lumMod val="40000"/>
                    <a:lumOff val="60000"/>
                  </a:schemeClr>
                </a:solidFill>
              </a:rPr>
              <a:t>2</a:t>
            </a:r>
            <a:endParaRPr lang="en-SG" sz="1600" b="1">
              <a:solidFill>
                <a:schemeClr val="accent6">
                  <a:lumMod val="40000"/>
                  <a:lumOff val="60000"/>
                </a:schemeClr>
              </a:solidFill>
            </a:endParaRPr>
          </a:p>
        </p:txBody>
      </p:sp>
      <p:sp>
        <p:nvSpPr>
          <p:cNvPr id="56" name="Oval 55">
            <a:extLst>
              <a:ext uri="{FF2B5EF4-FFF2-40B4-BE49-F238E27FC236}">
                <a16:creationId xmlns:a16="http://schemas.microsoft.com/office/drawing/2014/main" id="{6E6E7431-B78A-564B-86F9-5110EF28A6CC}"/>
              </a:ext>
            </a:extLst>
          </p:cNvPr>
          <p:cNvSpPr/>
          <p:nvPr/>
        </p:nvSpPr>
        <p:spPr>
          <a:xfrm>
            <a:off x="8621344" y="1637756"/>
            <a:ext cx="1086128" cy="108593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SG" sz="1600" b="1">
                <a:solidFill>
                  <a:schemeClr val="accent1">
                    <a:lumMod val="60000"/>
                    <a:lumOff val="40000"/>
                  </a:schemeClr>
                </a:solidFill>
              </a:rPr>
              <a:t>– CO</a:t>
            </a:r>
            <a:r>
              <a:rPr lang="en-SG" sz="1600" b="1" baseline="-25000">
                <a:solidFill>
                  <a:schemeClr val="accent1">
                    <a:lumMod val="60000"/>
                    <a:lumOff val="40000"/>
                  </a:schemeClr>
                </a:solidFill>
              </a:rPr>
              <a:t>2</a:t>
            </a:r>
            <a:endParaRPr lang="en-SG" sz="1600" b="1">
              <a:solidFill>
                <a:schemeClr val="accent1">
                  <a:lumMod val="60000"/>
                  <a:lumOff val="40000"/>
                </a:schemeClr>
              </a:solidFill>
            </a:endParaRPr>
          </a:p>
        </p:txBody>
      </p:sp>
      <p:sp>
        <p:nvSpPr>
          <p:cNvPr id="57" name="Text Placeholder 3">
            <a:extLst>
              <a:ext uri="{FF2B5EF4-FFF2-40B4-BE49-F238E27FC236}">
                <a16:creationId xmlns:a16="http://schemas.microsoft.com/office/drawing/2014/main" id="{AC20F22C-4611-9945-EAF6-21AF75AC1FC2}"/>
              </a:ext>
            </a:extLst>
          </p:cNvPr>
          <p:cNvSpPr>
            <a:spLocks noGrp="1"/>
          </p:cNvSpPr>
          <p:nvPr>
            <p:ph type="body" sz="quarter" idx="52"/>
          </p:nvPr>
        </p:nvSpPr>
        <p:spPr>
          <a:xfrm>
            <a:off x="360364" y="6520402"/>
            <a:ext cx="3603712" cy="124329"/>
          </a:xfrm>
        </p:spPr>
        <p:txBody>
          <a:bodyPr/>
          <a:lstStyle/>
          <a:p>
            <a:endParaRPr lang="en-SG" dirty="0"/>
          </a:p>
        </p:txBody>
      </p:sp>
    </p:spTree>
    <p:extLst>
      <p:ext uri="{BB962C8B-B14F-4D97-AF65-F5344CB8AC3E}">
        <p14:creationId xmlns:p14="http://schemas.microsoft.com/office/powerpoint/2010/main" val="19966252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9E810CC-2B68-4C50-B7BA-8B4C9D0781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29E810CC-2B68-4C50-B7BA-8B4C9D0781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8E21E70-BAC3-4D15-8CED-1436C4C061D6}"/>
              </a:ext>
            </a:extLst>
          </p:cNvPr>
          <p:cNvSpPr>
            <a:spLocks noGrp="1"/>
          </p:cNvSpPr>
          <p:nvPr>
            <p:ph type="title"/>
          </p:nvPr>
        </p:nvSpPr>
        <p:spPr>
          <a:xfrm>
            <a:off x="359999" y="450000"/>
            <a:ext cx="11160000" cy="332399"/>
          </a:xfrm>
        </p:spPr>
        <p:txBody>
          <a:bodyPr vert="horz"/>
          <a:lstStyle/>
          <a:p>
            <a:r>
              <a:rPr lang="en-US" dirty="0"/>
              <a:t>The lifecycle of a carbon credit</a:t>
            </a:r>
            <a:endParaRPr lang="en-SG" dirty="0"/>
          </a:p>
        </p:txBody>
      </p:sp>
      <p:sp>
        <p:nvSpPr>
          <p:cNvPr id="3" name="Slide Number Placeholder 2">
            <a:extLst>
              <a:ext uri="{FF2B5EF4-FFF2-40B4-BE49-F238E27FC236}">
                <a16:creationId xmlns:a16="http://schemas.microsoft.com/office/drawing/2014/main" id="{A4396510-7024-4C3E-B95A-DB58D640BD88}"/>
              </a:ext>
            </a:extLst>
          </p:cNvPr>
          <p:cNvSpPr>
            <a:spLocks noGrp="1"/>
          </p:cNvSpPr>
          <p:nvPr>
            <p:ph type="sldNum" sz="quarter" idx="10"/>
          </p:nvPr>
        </p:nvSpPr>
        <p:spPr/>
        <p:txBody>
          <a:bodyPr/>
          <a:lstStyle/>
          <a:p>
            <a:fld id="{FC1BBE33-A891-48E8-970C-4A8D55F96D53}" type="slidenum">
              <a:rPr lang="en-AU" smtClean="0"/>
              <a:pPr/>
              <a:t>4</a:t>
            </a:fld>
            <a:endParaRPr lang="en-AU"/>
          </a:p>
        </p:txBody>
      </p:sp>
      <p:sp>
        <p:nvSpPr>
          <p:cNvPr id="4" name="Text Placeholder 3">
            <a:extLst>
              <a:ext uri="{FF2B5EF4-FFF2-40B4-BE49-F238E27FC236}">
                <a16:creationId xmlns:a16="http://schemas.microsoft.com/office/drawing/2014/main" id="{97A325EC-3DC5-476E-B15A-4E252D2567DB}"/>
              </a:ext>
            </a:extLst>
          </p:cNvPr>
          <p:cNvSpPr>
            <a:spLocks noGrp="1"/>
          </p:cNvSpPr>
          <p:nvPr>
            <p:ph type="body" sz="quarter" idx="51"/>
          </p:nvPr>
        </p:nvSpPr>
        <p:spPr>
          <a:xfrm>
            <a:off x="359998" y="805904"/>
            <a:ext cx="7392523" cy="217560"/>
          </a:xfrm>
        </p:spPr>
        <p:txBody>
          <a:bodyPr/>
          <a:lstStyle/>
          <a:p>
            <a:endParaRPr lang="en-GB" sz="1400" dirty="0"/>
          </a:p>
        </p:txBody>
      </p:sp>
      <p:sp>
        <p:nvSpPr>
          <p:cNvPr id="25" name="Rectangle: Rounded Corners 24">
            <a:extLst>
              <a:ext uri="{FF2B5EF4-FFF2-40B4-BE49-F238E27FC236}">
                <a16:creationId xmlns:a16="http://schemas.microsoft.com/office/drawing/2014/main" id="{BEDC13B4-0466-A8D0-A91A-8F83557E9FD1}"/>
              </a:ext>
            </a:extLst>
          </p:cNvPr>
          <p:cNvSpPr/>
          <p:nvPr/>
        </p:nvSpPr>
        <p:spPr>
          <a:xfrm>
            <a:off x="4529325" y="3211800"/>
            <a:ext cx="3530265" cy="434399"/>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Lifecycle of carbon credits</a:t>
            </a:r>
            <a:endParaRPr lang="en-SG" sz="1400" b="1" dirty="0">
              <a:solidFill>
                <a:schemeClr val="tx1"/>
              </a:solidFill>
            </a:endParaRPr>
          </a:p>
        </p:txBody>
      </p:sp>
      <p:pic>
        <p:nvPicPr>
          <p:cNvPr id="27" name="Graphic 26" descr="Dollar outline">
            <a:extLst>
              <a:ext uri="{FF2B5EF4-FFF2-40B4-BE49-F238E27FC236}">
                <a16:creationId xmlns:a16="http://schemas.microsoft.com/office/drawing/2014/main" id="{F5C27FF5-BBC2-F860-86D5-9EEAEF230E7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820346" y="1387011"/>
            <a:ext cx="914400" cy="914400"/>
          </a:xfrm>
          <a:prstGeom prst="rect">
            <a:avLst/>
          </a:prstGeom>
        </p:spPr>
      </p:pic>
      <p:pic>
        <p:nvPicPr>
          <p:cNvPr id="28" name="Graphic 27" descr="Handshake outline">
            <a:extLst>
              <a:ext uri="{FF2B5EF4-FFF2-40B4-BE49-F238E27FC236}">
                <a16:creationId xmlns:a16="http://schemas.microsoft.com/office/drawing/2014/main" id="{3FD01DB3-6C41-8D86-949E-0AC5349C13A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947080" y="4081409"/>
            <a:ext cx="914400" cy="914400"/>
          </a:xfrm>
          <a:prstGeom prst="rect">
            <a:avLst/>
          </a:prstGeom>
        </p:spPr>
      </p:pic>
      <p:pic>
        <p:nvPicPr>
          <p:cNvPr id="29" name="Graphic 28" descr="Blueprint outline">
            <a:extLst>
              <a:ext uri="{FF2B5EF4-FFF2-40B4-BE49-F238E27FC236}">
                <a16:creationId xmlns:a16="http://schemas.microsoft.com/office/drawing/2014/main" id="{898330E2-617E-FFED-7774-3D8228A72C9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939999" y="5870383"/>
            <a:ext cx="914400" cy="914400"/>
          </a:xfrm>
          <a:prstGeom prst="rect">
            <a:avLst/>
          </a:prstGeom>
        </p:spPr>
      </p:pic>
      <p:pic>
        <p:nvPicPr>
          <p:cNvPr id="30" name="Graphic 29" descr="Diploma roll outline">
            <a:extLst>
              <a:ext uri="{FF2B5EF4-FFF2-40B4-BE49-F238E27FC236}">
                <a16:creationId xmlns:a16="http://schemas.microsoft.com/office/drawing/2014/main" id="{2229E167-4615-4F40-8D7E-2FA8ACDA92D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330522" y="4081409"/>
            <a:ext cx="914400" cy="914400"/>
          </a:xfrm>
          <a:prstGeom prst="rect">
            <a:avLst/>
          </a:prstGeom>
        </p:spPr>
      </p:pic>
      <p:pic>
        <p:nvPicPr>
          <p:cNvPr id="31" name="Graphic 30" descr="Register outline">
            <a:extLst>
              <a:ext uri="{FF2B5EF4-FFF2-40B4-BE49-F238E27FC236}">
                <a16:creationId xmlns:a16="http://schemas.microsoft.com/office/drawing/2014/main" id="{2067D7C5-52D0-CF20-8229-624B3679A5C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353656" y="1318667"/>
            <a:ext cx="914400" cy="914400"/>
          </a:xfrm>
          <a:prstGeom prst="rect">
            <a:avLst/>
          </a:prstGeom>
        </p:spPr>
      </p:pic>
      <p:sp>
        <p:nvSpPr>
          <p:cNvPr id="32" name="Text Placeholder 3">
            <a:extLst>
              <a:ext uri="{FF2B5EF4-FFF2-40B4-BE49-F238E27FC236}">
                <a16:creationId xmlns:a16="http://schemas.microsoft.com/office/drawing/2014/main" id="{13884F5A-B846-C9DF-E78F-3E4305EEC4DB}"/>
              </a:ext>
            </a:extLst>
          </p:cNvPr>
          <p:cNvSpPr>
            <a:spLocks noGrp="1"/>
          </p:cNvSpPr>
          <p:nvPr>
            <p:ph type="body" sz="quarter" idx="52"/>
          </p:nvPr>
        </p:nvSpPr>
        <p:spPr>
          <a:xfrm>
            <a:off x="360364" y="6520402"/>
            <a:ext cx="3603712" cy="124329"/>
          </a:xfrm>
        </p:spPr>
        <p:txBody>
          <a:bodyPr/>
          <a:lstStyle/>
          <a:p>
            <a:endParaRPr lang="en-SG" dirty="0"/>
          </a:p>
        </p:txBody>
      </p:sp>
      <p:graphicFrame>
        <p:nvGraphicFramePr>
          <p:cNvPr id="33" name="Diagram 32">
            <a:extLst>
              <a:ext uri="{FF2B5EF4-FFF2-40B4-BE49-F238E27FC236}">
                <a16:creationId xmlns:a16="http://schemas.microsoft.com/office/drawing/2014/main" id="{594E4EEA-A31A-908A-E6B7-A3ED03FE2474}"/>
              </a:ext>
            </a:extLst>
          </p:cNvPr>
          <p:cNvGraphicFramePr/>
          <p:nvPr>
            <p:extLst>
              <p:ext uri="{D42A27DB-BD31-4B8C-83A1-F6EECF244321}">
                <p14:modId xmlns:p14="http://schemas.microsoft.com/office/powerpoint/2010/main" val="1076347651"/>
              </p:ext>
            </p:extLst>
          </p:nvPr>
        </p:nvGraphicFramePr>
        <p:xfrm>
          <a:off x="1756881" y="1171255"/>
          <a:ext cx="8702211" cy="5472258"/>
        </p:xfrm>
        <a:graphic>
          <a:graphicData uri="http://schemas.openxmlformats.org/drawingml/2006/diagram">
            <dgm:relIds xmlns:dgm="http://schemas.openxmlformats.org/drawingml/2006/diagram" xmlns:r="http://schemas.openxmlformats.org/officeDocument/2006/relationships" r:dm="rId15" r:lo="rId16" r:qs="rId17" r:cs="rId18"/>
          </a:graphicData>
        </a:graphic>
      </p:graphicFrame>
    </p:spTree>
    <p:extLst>
      <p:ext uri="{BB962C8B-B14F-4D97-AF65-F5344CB8AC3E}">
        <p14:creationId xmlns:p14="http://schemas.microsoft.com/office/powerpoint/2010/main" val="20126201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080078-CD58-7D4D-88C7-892D8855A0ED}"/>
              </a:ext>
            </a:extLst>
          </p:cNvPr>
          <p:cNvSpPr>
            <a:spLocks noGrp="1"/>
          </p:cNvSpPr>
          <p:nvPr>
            <p:ph type="title"/>
          </p:nvPr>
        </p:nvSpPr>
        <p:spPr/>
        <p:txBody>
          <a:bodyPr/>
          <a:lstStyle/>
          <a:p>
            <a:r>
              <a:rPr lang="en-GB" dirty="0"/>
              <a:t>Types of carbon credits </a:t>
            </a:r>
          </a:p>
        </p:txBody>
      </p:sp>
      <p:sp>
        <p:nvSpPr>
          <p:cNvPr id="3" name="Slide Number Placeholder 2">
            <a:extLst>
              <a:ext uri="{FF2B5EF4-FFF2-40B4-BE49-F238E27FC236}">
                <a16:creationId xmlns:a16="http://schemas.microsoft.com/office/drawing/2014/main" id="{6A7DE6C5-C2D4-EA46-8B1F-BA07AD5B8606}"/>
              </a:ext>
            </a:extLst>
          </p:cNvPr>
          <p:cNvSpPr>
            <a:spLocks noGrp="1"/>
          </p:cNvSpPr>
          <p:nvPr>
            <p:ph type="sldNum" sz="quarter" idx="10"/>
          </p:nvPr>
        </p:nvSpPr>
        <p:spPr/>
        <p:txBody>
          <a:bodyPr/>
          <a:lstStyle/>
          <a:p>
            <a:fld id="{FC1BBE33-A891-48E8-970C-4A8D55F96D53}" type="slidenum">
              <a:rPr lang="en-AU" smtClean="0"/>
              <a:pPr/>
              <a:t>5</a:t>
            </a:fld>
            <a:endParaRPr lang="en-AU" dirty="0"/>
          </a:p>
        </p:txBody>
      </p:sp>
      <p:sp>
        <p:nvSpPr>
          <p:cNvPr id="6" name="Text Placeholder 5">
            <a:extLst>
              <a:ext uri="{FF2B5EF4-FFF2-40B4-BE49-F238E27FC236}">
                <a16:creationId xmlns:a16="http://schemas.microsoft.com/office/drawing/2014/main" id="{51591C31-B845-3E4C-A3B1-5E0A01A0E423}"/>
              </a:ext>
            </a:extLst>
          </p:cNvPr>
          <p:cNvSpPr>
            <a:spLocks noGrp="1"/>
          </p:cNvSpPr>
          <p:nvPr>
            <p:ph type="body" sz="quarter" idx="53"/>
          </p:nvPr>
        </p:nvSpPr>
        <p:spPr/>
        <p:txBody>
          <a:bodyPr/>
          <a:lstStyle/>
          <a:p>
            <a:r>
              <a:rPr lang="en-GB" b="1" dirty="0"/>
              <a:t>Image sources: </a:t>
            </a:r>
            <a:r>
              <a:rPr lang="en-GB" dirty="0">
                <a:hlinkClick r:id="rId2">
                  <a:extLst>
                    <a:ext uri="{A12FA001-AC4F-418D-AE19-62706E023703}">
                      <ahyp:hlinkClr xmlns:ahyp="http://schemas.microsoft.com/office/drawing/2018/hyperlinkcolor" val="tx"/>
                    </a:ext>
                  </a:extLst>
                </a:hlinkClick>
              </a:rPr>
              <a:t>Global Engineering </a:t>
            </a:r>
            <a:endParaRPr lang="en-GB" dirty="0"/>
          </a:p>
        </p:txBody>
      </p:sp>
      <p:graphicFrame>
        <p:nvGraphicFramePr>
          <p:cNvPr id="4" name="Table 4">
            <a:extLst>
              <a:ext uri="{FF2B5EF4-FFF2-40B4-BE49-F238E27FC236}">
                <a16:creationId xmlns:a16="http://schemas.microsoft.com/office/drawing/2014/main" id="{EBAB4F1F-7204-5D09-B437-A536D600F138}"/>
              </a:ext>
            </a:extLst>
          </p:cNvPr>
          <p:cNvGraphicFramePr>
            <a:graphicFrameLocks noGrp="1"/>
          </p:cNvGraphicFramePr>
          <p:nvPr/>
        </p:nvGraphicFramePr>
        <p:xfrm>
          <a:off x="359999" y="2908918"/>
          <a:ext cx="11264456" cy="3437815"/>
        </p:xfrm>
        <a:graphic>
          <a:graphicData uri="http://schemas.openxmlformats.org/drawingml/2006/table">
            <a:tbl>
              <a:tblPr firstRow="1" bandRow="1">
                <a:tableStyleId>{2D5ABB26-0587-4C30-8999-92F81FD0307C}</a:tableStyleId>
              </a:tblPr>
              <a:tblGrid>
                <a:gridCol w="1694432">
                  <a:extLst>
                    <a:ext uri="{9D8B030D-6E8A-4147-A177-3AD203B41FA5}">
                      <a16:colId xmlns:a16="http://schemas.microsoft.com/office/drawing/2014/main" val="2670140133"/>
                    </a:ext>
                  </a:extLst>
                </a:gridCol>
                <a:gridCol w="2392506">
                  <a:extLst>
                    <a:ext uri="{9D8B030D-6E8A-4147-A177-3AD203B41FA5}">
                      <a16:colId xmlns:a16="http://schemas.microsoft.com/office/drawing/2014/main" val="3320284290"/>
                    </a:ext>
                  </a:extLst>
                </a:gridCol>
                <a:gridCol w="2392506">
                  <a:extLst>
                    <a:ext uri="{9D8B030D-6E8A-4147-A177-3AD203B41FA5}">
                      <a16:colId xmlns:a16="http://schemas.microsoft.com/office/drawing/2014/main" val="773230339"/>
                    </a:ext>
                  </a:extLst>
                </a:gridCol>
                <a:gridCol w="2392506">
                  <a:extLst>
                    <a:ext uri="{9D8B030D-6E8A-4147-A177-3AD203B41FA5}">
                      <a16:colId xmlns:a16="http://schemas.microsoft.com/office/drawing/2014/main" val="2111951982"/>
                    </a:ext>
                  </a:extLst>
                </a:gridCol>
                <a:gridCol w="2392506">
                  <a:extLst>
                    <a:ext uri="{9D8B030D-6E8A-4147-A177-3AD203B41FA5}">
                      <a16:colId xmlns:a16="http://schemas.microsoft.com/office/drawing/2014/main" val="857505080"/>
                    </a:ext>
                  </a:extLst>
                </a:gridCol>
              </a:tblGrid>
              <a:tr h="591593">
                <a:tc>
                  <a:txBody>
                    <a:bodyPr/>
                    <a:lstStyle/>
                    <a:p>
                      <a:endParaRPr lang="en-GB" sz="1200" dirty="0"/>
                    </a:p>
                  </a:txBody>
                  <a:tcPr>
                    <a:lnB w="12700" cap="flat" cmpd="sng" algn="ctr">
                      <a:solidFill>
                        <a:schemeClr val="bg1">
                          <a:lumMod val="65000"/>
                        </a:schemeClr>
                      </a:solidFill>
                      <a:prstDash val="solid"/>
                      <a:round/>
                      <a:headEnd type="none" w="med" len="med"/>
                      <a:tailEnd type="none" w="med" len="med"/>
                    </a:lnB>
                  </a:tcPr>
                </a:tc>
                <a:tc>
                  <a:txBody>
                    <a:bodyPr/>
                    <a:lstStyle/>
                    <a:p>
                      <a:r>
                        <a:rPr lang="en-GB" sz="1400" b="1" dirty="0">
                          <a:solidFill>
                            <a:schemeClr val="accent3"/>
                          </a:solidFill>
                        </a:rPr>
                        <a:t>Avoided </a:t>
                      </a:r>
                    </a:p>
                    <a:p>
                      <a:r>
                        <a:rPr lang="en-GB" sz="1400" b="1" dirty="0">
                          <a:solidFill>
                            <a:schemeClr val="accent3"/>
                          </a:solidFill>
                        </a:rPr>
                        <a:t>nature loss</a:t>
                      </a:r>
                    </a:p>
                  </a:txBody>
                  <a:tcPr>
                    <a:lnB w="12700" cap="flat" cmpd="sng" algn="ctr">
                      <a:solidFill>
                        <a:schemeClr val="bg1">
                          <a:lumMod val="65000"/>
                        </a:schemeClr>
                      </a:solidFill>
                      <a:prstDash val="solid"/>
                      <a:round/>
                      <a:headEnd type="none" w="med" len="med"/>
                      <a:tailEnd type="none" w="med" len="med"/>
                    </a:lnB>
                  </a:tcPr>
                </a:tc>
                <a:tc>
                  <a:txBody>
                    <a:bodyPr/>
                    <a:lstStyle/>
                    <a:p>
                      <a:r>
                        <a:rPr lang="en-GB" sz="1400" b="1" dirty="0">
                          <a:solidFill>
                            <a:schemeClr val="accent3"/>
                          </a:solidFill>
                        </a:rPr>
                        <a:t>Technology-based reduction</a:t>
                      </a:r>
                    </a:p>
                  </a:txBody>
                  <a:tcPr>
                    <a:lnB w="12700" cap="flat" cmpd="sng" algn="ctr">
                      <a:solidFill>
                        <a:schemeClr val="bg1">
                          <a:lumMod val="65000"/>
                        </a:schemeClr>
                      </a:solidFill>
                      <a:prstDash val="solid"/>
                      <a:round/>
                      <a:headEnd type="none" w="med" len="med"/>
                      <a:tailEnd type="none" w="med" len="med"/>
                    </a:lnB>
                  </a:tcPr>
                </a:tc>
                <a:tc>
                  <a:txBody>
                    <a:bodyPr/>
                    <a:lstStyle/>
                    <a:p>
                      <a:r>
                        <a:rPr lang="en-GB" sz="1400" b="1" dirty="0">
                          <a:solidFill>
                            <a:schemeClr val="accent2"/>
                          </a:solidFill>
                        </a:rPr>
                        <a:t>Nature-based sequestration</a:t>
                      </a:r>
                    </a:p>
                  </a:txBody>
                  <a:tcPr>
                    <a:lnB w="12700" cap="flat" cmpd="sng" algn="ctr">
                      <a:solidFill>
                        <a:schemeClr val="bg1">
                          <a:lumMod val="65000"/>
                        </a:schemeClr>
                      </a:solidFill>
                      <a:prstDash val="solid"/>
                      <a:round/>
                      <a:headEnd type="none" w="med" len="med"/>
                      <a:tailEnd type="none" w="med" len="med"/>
                    </a:lnB>
                  </a:tcPr>
                </a:tc>
                <a:tc>
                  <a:txBody>
                    <a:bodyPr/>
                    <a:lstStyle/>
                    <a:p>
                      <a:r>
                        <a:rPr lang="en-GB" sz="1400" b="1" dirty="0">
                          <a:solidFill>
                            <a:schemeClr val="accent2"/>
                          </a:solidFill>
                        </a:rPr>
                        <a:t>Technology-based removal</a:t>
                      </a:r>
                    </a:p>
                  </a:txBody>
                  <a:tcPr>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188885220"/>
                  </a:ext>
                </a:extLst>
              </a:tr>
              <a:tr h="1301506">
                <a:tc>
                  <a:txBody>
                    <a:bodyPr/>
                    <a:lstStyle/>
                    <a:p>
                      <a:r>
                        <a:rPr lang="en-GB" sz="1200" b="1" dirty="0"/>
                        <a:t>Description</a:t>
                      </a:r>
                    </a:p>
                  </a:txBody>
                  <a:tcP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GB" sz="1200" b="1" dirty="0"/>
                        <a:t>Limit the loss of natural ecosystems </a:t>
                      </a:r>
                      <a:r>
                        <a:rPr lang="en-GB" sz="1200" dirty="0"/>
                        <a:t>(e.g. forests and peatlands) which currently sequester large amounts of carbon.</a:t>
                      </a:r>
                    </a:p>
                  </a:txBody>
                  <a:tcP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GB" sz="1200" b="1" dirty="0"/>
                        <a:t>Reduce emissions from current sources</a:t>
                      </a:r>
                      <a:r>
                        <a:rPr lang="en-GB" sz="1200" dirty="0"/>
                        <a:t>, which do not have financial or regulator incentive to decarbonise.</a:t>
                      </a:r>
                    </a:p>
                  </a:txBody>
                  <a:tcP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GB" sz="1200" b="1" dirty="0"/>
                        <a:t>Use nature to sequester more carbon</a:t>
                      </a:r>
                      <a:r>
                        <a:rPr lang="en-GB" sz="1200" dirty="0"/>
                        <a:t> in the atmosphere.</a:t>
                      </a:r>
                    </a:p>
                  </a:txBody>
                  <a:tcP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GB" sz="1200" b="1" dirty="0"/>
                        <a:t>Remove CO2 through use of modern technologies</a:t>
                      </a:r>
                      <a:r>
                        <a:rPr lang="en-GB" sz="1200" dirty="0"/>
                        <a:t>, and store or use it through secure methods.</a:t>
                      </a:r>
                    </a:p>
                  </a:txBody>
                  <a:tcP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406773205"/>
                  </a:ext>
                </a:extLst>
              </a:tr>
              <a:tr h="1064868">
                <a:tc>
                  <a:txBody>
                    <a:bodyPr/>
                    <a:lstStyle/>
                    <a:p>
                      <a:r>
                        <a:rPr lang="en-GB" sz="1200" b="1" dirty="0"/>
                        <a:t>Examples</a:t>
                      </a:r>
                    </a:p>
                  </a:txBody>
                  <a:tcP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GB" sz="1200" dirty="0"/>
                        <a:t>Avoided deforestation</a:t>
                      </a:r>
                    </a:p>
                    <a:p>
                      <a:pPr marL="171450" indent="-171450">
                        <a:buFont typeface="Arial" panose="020B0604020202020204" pitchFamily="34" charset="0"/>
                        <a:buChar char="•"/>
                      </a:pPr>
                      <a:r>
                        <a:rPr lang="en-GB" sz="1200" dirty="0"/>
                        <a:t>Avoided peatland and coastal degradation</a:t>
                      </a:r>
                    </a:p>
                  </a:txBody>
                  <a:tcP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GB" sz="1200" dirty="0"/>
                        <a:t>Renewable energy</a:t>
                      </a:r>
                    </a:p>
                    <a:p>
                      <a:pPr marL="171450" indent="-171450">
                        <a:buFont typeface="Arial" panose="020B0604020202020204" pitchFamily="34" charset="0"/>
                        <a:buChar char="•"/>
                      </a:pPr>
                      <a:r>
                        <a:rPr lang="en-GB" sz="1200" dirty="0"/>
                        <a:t>Energy efficiency</a:t>
                      </a:r>
                    </a:p>
                    <a:p>
                      <a:pPr marL="171450" indent="-171450">
                        <a:buFont typeface="Arial" panose="020B0604020202020204" pitchFamily="34" charset="0"/>
                        <a:buChar char="•"/>
                      </a:pPr>
                      <a:r>
                        <a:rPr lang="en-GB" sz="1200" dirty="0"/>
                        <a:t>Fuel switching</a:t>
                      </a:r>
                    </a:p>
                    <a:p>
                      <a:pPr marL="171450" indent="-171450">
                        <a:buFont typeface="Arial" panose="020B0604020202020204" pitchFamily="34" charset="0"/>
                        <a:buChar char="•"/>
                      </a:pPr>
                      <a:r>
                        <a:rPr lang="en-GB" sz="1200" dirty="0"/>
                        <a:t>Waste management</a:t>
                      </a:r>
                    </a:p>
                  </a:txBody>
                  <a:tcP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GB" sz="1200" dirty="0"/>
                        <a:t>Afforestation and reforestation</a:t>
                      </a:r>
                    </a:p>
                    <a:p>
                      <a:pPr marL="171450" indent="-171450">
                        <a:buFont typeface="Arial" panose="020B0604020202020204" pitchFamily="34" charset="0"/>
                        <a:buChar char="•"/>
                      </a:pPr>
                      <a:r>
                        <a:rPr lang="en-GB" sz="1200" dirty="0"/>
                        <a:t>Peat and coastal (mangrove) restoration</a:t>
                      </a:r>
                    </a:p>
                  </a:txBody>
                  <a:tcP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GB" sz="1200" dirty="0"/>
                        <a:t>Direct Air Capture and Storage (DACCS)</a:t>
                      </a:r>
                    </a:p>
                    <a:p>
                      <a:pPr marL="171450" indent="-171450">
                        <a:buFont typeface="Arial" panose="020B0604020202020204" pitchFamily="34" charset="0"/>
                        <a:buChar char="•"/>
                      </a:pPr>
                      <a:r>
                        <a:rPr lang="en-GB" sz="1200" dirty="0"/>
                        <a:t>Bio-Energy with Carbon Capture and Storage (BECCS)</a:t>
                      </a:r>
                    </a:p>
                  </a:txBody>
                  <a:tcP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011663715"/>
                  </a:ext>
                </a:extLst>
              </a:tr>
              <a:tr h="479848">
                <a:tc>
                  <a:txBody>
                    <a:bodyPr/>
                    <a:lstStyle/>
                    <a:p>
                      <a:r>
                        <a:rPr lang="en-GB" sz="1200" b="1" dirty="0"/>
                        <a:t>Current availability</a:t>
                      </a:r>
                    </a:p>
                  </a:txBody>
                  <a:tcPr>
                    <a:lnT w="12700" cap="flat" cmpd="sng" algn="ctr">
                      <a:solidFill>
                        <a:schemeClr val="bg1">
                          <a:lumMod val="65000"/>
                        </a:schemeClr>
                      </a:solidFill>
                      <a:prstDash val="solid"/>
                      <a:round/>
                      <a:headEnd type="none" w="med" len="med"/>
                      <a:tailEnd type="none" w="med" len="med"/>
                    </a:lnT>
                  </a:tcPr>
                </a:tc>
                <a:tc>
                  <a:txBody>
                    <a:bodyPr/>
                    <a:lstStyle/>
                    <a:p>
                      <a:r>
                        <a:rPr lang="en-GB" sz="1200" dirty="0"/>
                        <a:t>High</a:t>
                      </a:r>
                    </a:p>
                  </a:txBody>
                  <a:tcPr>
                    <a:lnT w="12700" cap="flat" cmpd="sng" algn="ctr">
                      <a:solidFill>
                        <a:schemeClr val="bg1">
                          <a:lumMod val="65000"/>
                        </a:schemeClr>
                      </a:solidFill>
                      <a:prstDash val="solid"/>
                      <a:round/>
                      <a:headEnd type="none" w="med" len="med"/>
                      <a:tailEnd type="none" w="med" len="med"/>
                    </a:lnT>
                  </a:tcPr>
                </a:tc>
                <a:tc>
                  <a:txBody>
                    <a:bodyPr/>
                    <a:lstStyle/>
                    <a:p>
                      <a:r>
                        <a:rPr lang="en-GB" sz="1200" dirty="0"/>
                        <a:t>High</a:t>
                      </a:r>
                    </a:p>
                  </a:txBody>
                  <a:tcPr>
                    <a:lnT w="12700" cap="flat" cmpd="sng" algn="ctr">
                      <a:solidFill>
                        <a:schemeClr val="bg1">
                          <a:lumMod val="65000"/>
                        </a:schemeClr>
                      </a:solidFill>
                      <a:prstDash val="solid"/>
                      <a:round/>
                      <a:headEnd type="none" w="med" len="med"/>
                      <a:tailEnd type="none" w="med" len="med"/>
                    </a:lnT>
                  </a:tcPr>
                </a:tc>
                <a:tc>
                  <a:txBody>
                    <a:bodyPr/>
                    <a:lstStyle/>
                    <a:p>
                      <a:r>
                        <a:rPr lang="en-GB" sz="1200" dirty="0"/>
                        <a:t>Low</a:t>
                      </a:r>
                    </a:p>
                  </a:txBody>
                  <a:tcPr>
                    <a:lnT w="12700" cap="flat" cmpd="sng" algn="ctr">
                      <a:solidFill>
                        <a:schemeClr val="bg1">
                          <a:lumMod val="65000"/>
                        </a:schemeClr>
                      </a:solidFill>
                      <a:prstDash val="solid"/>
                      <a:round/>
                      <a:headEnd type="none" w="med" len="med"/>
                      <a:tailEnd type="none" w="med" len="med"/>
                    </a:lnT>
                  </a:tcPr>
                </a:tc>
                <a:tc>
                  <a:txBody>
                    <a:bodyPr/>
                    <a:lstStyle/>
                    <a:p>
                      <a:r>
                        <a:rPr lang="en-GB" sz="1200" dirty="0"/>
                        <a:t>Very Low</a:t>
                      </a:r>
                    </a:p>
                  </a:txBody>
                  <a:tcPr>
                    <a:lnT w="12700" cap="flat" cmpd="sng" algn="ctr">
                      <a:solidFill>
                        <a:schemeClr val="bg1">
                          <a:lumMod val="65000"/>
                        </a:schemeClr>
                      </a:solidFill>
                      <a:prstDash val="solid"/>
                      <a:round/>
                      <a:headEnd type="none" w="med" len="med"/>
                      <a:tailEnd type="none" w="med" len="med"/>
                    </a:lnT>
                  </a:tcPr>
                </a:tc>
                <a:extLst>
                  <a:ext uri="{0D108BD9-81ED-4DB2-BD59-A6C34878D82A}">
                    <a16:rowId xmlns:a16="http://schemas.microsoft.com/office/drawing/2014/main" val="2903025825"/>
                  </a:ext>
                </a:extLst>
              </a:tr>
            </a:tbl>
          </a:graphicData>
        </a:graphic>
      </p:graphicFrame>
      <p:pic>
        <p:nvPicPr>
          <p:cNvPr id="1026" name="Picture 2" descr="green trees covered with fog">
            <a:extLst>
              <a:ext uri="{FF2B5EF4-FFF2-40B4-BE49-F238E27FC236}">
                <a16:creationId xmlns:a16="http://schemas.microsoft.com/office/drawing/2014/main" id="{51DE2BF0-64A7-FC2C-05F9-37E1F5A5A55F}"/>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2162220" y="1440716"/>
            <a:ext cx="1967744" cy="1231102"/>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solar panel boards on brown ground">
            <a:extLst>
              <a:ext uri="{FF2B5EF4-FFF2-40B4-BE49-F238E27FC236}">
                <a16:creationId xmlns:a16="http://schemas.microsoft.com/office/drawing/2014/main" id="{F06DDA81-F50A-D7C6-8C82-094C719F347C}"/>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l="-158"/>
          <a:stretch/>
        </p:blipFill>
        <p:spPr bwMode="auto">
          <a:xfrm>
            <a:off x="4557672" y="1440717"/>
            <a:ext cx="1967744" cy="1247426"/>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The Biggest Reforestation Project Currently Underway">
            <a:extLst>
              <a:ext uri="{FF2B5EF4-FFF2-40B4-BE49-F238E27FC236}">
                <a16:creationId xmlns:a16="http://schemas.microsoft.com/office/drawing/2014/main" id="{1DAAB32A-75B3-FD36-95DB-69F2AC57E089}"/>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953124" y="1424392"/>
            <a:ext cx="1980000" cy="1247426"/>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Climeworks just raised $75M to pull CO2 out of the atmosphere – pv magazine  USA">
            <a:extLst>
              <a:ext uri="{FF2B5EF4-FFF2-40B4-BE49-F238E27FC236}">
                <a16:creationId xmlns:a16="http://schemas.microsoft.com/office/drawing/2014/main" id="{4A55A93D-1109-988C-5564-1A871C065CB0}"/>
              </a:ext>
            </a:extLst>
          </p:cNvPr>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9360833" y="1424393"/>
            <a:ext cx="1967745" cy="1247426"/>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Rounded Corners 11">
            <a:extLst>
              <a:ext uri="{FF2B5EF4-FFF2-40B4-BE49-F238E27FC236}">
                <a16:creationId xmlns:a16="http://schemas.microsoft.com/office/drawing/2014/main" id="{956421DE-3F96-3038-59A9-2EE823DBE6B7}"/>
              </a:ext>
            </a:extLst>
          </p:cNvPr>
          <p:cNvSpPr/>
          <p:nvPr/>
        </p:nvSpPr>
        <p:spPr>
          <a:xfrm>
            <a:off x="2162219" y="1002638"/>
            <a:ext cx="4363197" cy="226787"/>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chemeClr val="tx1"/>
                </a:solidFill>
              </a:rPr>
              <a:t>Avoidance / Reduction</a:t>
            </a:r>
            <a:endParaRPr lang="en-SG" sz="1050" b="1" dirty="0">
              <a:solidFill>
                <a:schemeClr val="tx1"/>
              </a:solidFill>
            </a:endParaRPr>
          </a:p>
        </p:txBody>
      </p:sp>
      <p:sp>
        <p:nvSpPr>
          <p:cNvPr id="31" name="Rectangle: Rounded Corners 11">
            <a:extLst>
              <a:ext uri="{FF2B5EF4-FFF2-40B4-BE49-F238E27FC236}">
                <a16:creationId xmlns:a16="http://schemas.microsoft.com/office/drawing/2014/main" id="{6A65216D-DBBB-C6A3-8396-6AE9579DEE03}"/>
              </a:ext>
            </a:extLst>
          </p:cNvPr>
          <p:cNvSpPr/>
          <p:nvPr/>
        </p:nvSpPr>
        <p:spPr>
          <a:xfrm>
            <a:off x="6953124" y="1002638"/>
            <a:ext cx="4363197" cy="226787"/>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chemeClr val="tx1"/>
                </a:solidFill>
              </a:rPr>
              <a:t>Removal / Sequestration</a:t>
            </a:r>
            <a:endParaRPr lang="en-SG" sz="1050" b="1" dirty="0">
              <a:solidFill>
                <a:schemeClr val="tx1"/>
              </a:solidFill>
            </a:endParaRPr>
          </a:p>
        </p:txBody>
      </p:sp>
    </p:spTree>
    <p:extLst>
      <p:ext uri="{BB962C8B-B14F-4D97-AF65-F5344CB8AC3E}">
        <p14:creationId xmlns:p14="http://schemas.microsoft.com/office/powerpoint/2010/main" val="5701617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9E810CC-2B68-4C50-B7BA-8B4C9D0781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29E810CC-2B68-4C50-B7BA-8B4C9D0781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8E21E70-BAC3-4D15-8CED-1436C4C061D6}"/>
              </a:ext>
            </a:extLst>
          </p:cNvPr>
          <p:cNvSpPr>
            <a:spLocks noGrp="1"/>
          </p:cNvSpPr>
          <p:nvPr>
            <p:ph type="title"/>
          </p:nvPr>
        </p:nvSpPr>
        <p:spPr/>
        <p:txBody>
          <a:bodyPr vert="horz"/>
          <a:lstStyle/>
          <a:p>
            <a:r>
              <a:rPr lang="en-US" dirty="0"/>
              <a:t>Voluntary carbon markets are growing</a:t>
            </a:r>
            <a:endParaRPr lang="en-SG" dirty="0"/>
          </a:p>
        </p:txBody>
      </p:sp>
      <p:sp>
        <p:nvSpPr>
          <p:cNvPr id="4" name="Text Placeholder 3">
            <a:extLst>
              <a:ext uri="{FF2B5EF4-FFF2-40B4-BE49-F238E27FC236}">
                <a16:creationId xmlns:a16="http://schemas.microsoft.com/office/drawing/2014/main" id="{97A325EC-3DC5-476E-B15A-4E252D2567DB}"/>
              </a:ext>
            </a:extLst>
          </p:cNvPr>
          <p:cNvSpPr>
            <a:spLocks noGrp="1"/>
          </p:cNvSpPr>
          <p:nvPr>
            <p:ph type="body" sz="quarter" idx="51"/>
          </p:nvPr>
        </p:nvSpPr>
        <p:spPr>
          <a:xfrm>
            <a:off x="359999" y="805904"/>
            <a:ext cx="11160000" cy="279757"/>
          </a:xfrm>
        </p:spPr>
        <p:txBody>
          <a:bodyPr/>
          <a:lstStyle/>
          <a:p>
            <a:r>
              <a:rPr lang="en-US" b="1" dirty="0"/>
              <a:t>Commitments by 1800+ global corporate are driving demand for quality carbon credits</a:t>
            </a:r>
          </a:p>
        </p:txBody>
      </p:sp>
      <p:grpSp>
        <p:nvGrpSpPr>
          <p:cNvPr id="124" name="Group 123">
            <a:extLst>
              <a:ext uri="{FF2B5EF4-FFF2-40B4-BE49-F238E27FC236}">
                <a16:creationId xmlns:a16="http://schemas.microsoft.com/office/drawing/2014/main" id="{A80DF535-D90D-0E16-7864-86C6D85FFA42}"/>
              </a:ext>
            </a:extLst>
          </p:cNvPr>
          <p:cNvGrpSpPr/>
          <p:nvPr/>
        </p:nvGrpSpPr>
        <p:grpSpPr>
          <a:xfrm>
            <a:off x="359999" y="1861318"/>
            <a:ext cx="5599401" cy="3269083"/>
            <a:chOff x="1168060" y="4371013"/>
            <a:chExt cx="11178501" cy="6526315"/>
          </a:xfrm>
        </p:grpSpPr>
        <p:pic>
          <p:nvPicPr>
            <p:cNvPr id="125" name="Picture 124">
              <a:extLst>
                <a:ext uri="{FF2B5EF4-FFF2-40B4-BE49-F238E27FC236}">
                  <a16:creationId xmlns:a16="http://schemas.microsoft.com/office/drawing/2014/main" id="{2ABC446E-E433-BCC4-3F85-85B3E0DDCA23}"/>
                </a:ext>
              </a:extLst>
            </p:cNvPr>
            <p:cNvPicPr>
              <a:picLocks noChangeAspect="1"/>
            </p:cNvPicPr>
            <p:nvPr/>
          </p:nvPicPr>
          <p:blipFill>
            <a:blip r:embed="rId5"/>
            <a:stretch>
              <a:fillRect/>
            </a:stretch>
          </p:blipFill>
          <p:spPr>
            <a:xfrm>
              <a:off x="1168060" y="4392024"/>
              <a:ext cx="11178501" cy="6505304"/>
            </a:xfrm>
            <a:prstGeom prst="rect">
              <a:avLst/>
            </a:prstGeom>
          </p:spPr>
        </p:pic>
        <p:sp>
          <p:nvSpPr>
            <p:cNvPr id="126" name="Rectangle 125">
              <a:extLst>
                <a:ext uri="{FF2B5EF4-FFF2-40B4-BE49-F238E27FC236}">
                  <a16:creationId xmlns:a16="http://schemas.microsoft.com/office/drawing/2014/main" id="{3EE6217E-2E62-A097-EE55-A0671FFD73BE}"/>
                </a:ext>
              </a:extLst>
            </p:cNvPr>
            <p:cNvSpPr/>
            <p:nvPr/>
          </p:nvSpPr>
          <p:spPr>
            <a:xfrm>
              <a:off x="2704002" y="4371013"/>
              <a:ext cx="7146759" cy="26329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27" name="Rectangle 126">
            <a:extLst>
              <a:ext uri="{FF2B5EF4-FFF2-40B4-BE49-F238E27FC236}">
                <a16:creationId xmlns:a16="http://schemas.microsoft.com/office/drawing/2014/main" id="{A0F62CB5-DDC1-E5D0-7052-FB96DBF939C1}"/>
              </a:ext>
            </a:extLst>
          </p:cNvPr>
          <p:cNvSpPr/>
          <p:nvPr/>
        </p:nvSpPr>
        <p:spPr>
          <a:xfrm>
            <a:off x="359999" y="1334930"/>
            <a:ext cx="8099901" cy="440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t"/>
          <a:lstStyle/>
          <a:p>
            <a:r>
              <a:rPr lang="en-GB" sz="1400" b="1" dirty="0">
                <a:solidFill>
                  <a:schemeClr val="tx1"/>
                </a:solidFill>
                <a:latin typeface="Inter" panose="02000503000000020004" pitchFamily="2" charset="0"/>
                <a:ea typeface="Inter" panose="02000503000000020004" pitchFamily="2" charset="0"/>
              </a:rPr>
              <a:t>Voluntary Carbon Market 2004-2021</a:t>
            </a:r>
            <a:endParaRPr lang="en-GB" sz="1100" b="1" dirty="0">
              <a:solidFill>
                <a:schemeClr val="tx1"/>
              </a:solidFill>
              <a:latin typeface="Inter" panose="02000503000000020004" pitchFamily="2" charset="0"/>
              <a:ea typeface="Inter" panose="02000503000000020004" pitchFamily="2" charset="0"/>
            </a:endParaRPr>
          </a:p>
          <a:p>
            <a:r>
              <a:rPr lang="en-GB" sz="1100" dirty="0">
                <a:solidFill>
                  <a:schemeClr val="tx1">
                    <a:lumMod val="50000"/>
                    <a:lumOff val="50000"/>
                  </a:schemeClr>
                </a:solidFill>
                <a:latin typeface="Inter" panose="02000503000000020004" pitchFamily="2" charset="0"/>
                <a:ea typeface="Inter" panose="02000503000000020004" pitchFamily="2" charset="0"/>
              </a:rPr>
              <a:t>in MtCO</a:t>
            </a:r>
            <a:r>
              <a:rPr lang="en-GB" sz="1100" baseline="-25000" dirty="0">
                <a:solidFill>
                  <a:schemeClr val="tx1">
                    <a:lumMod val="50000"/>
                    <a:lumOff val="50000"/>
                  </a:schemeClr>
                </a:solidFill>
                <a:latin typeface="Inter" panose="02000503000000020004" pitchFamily="2" charset="0"/>
                <a:ea typeface="Inter" panose="02000503000000020004" pitchFamily="2" charset="0"/>
              </a:rPr>
              <a:t>2</a:t>
            </a:r>
            <a:endParaRPr lang="en-GB" sz="1100" dirty="0">
              <a:solidFill>
                <a:schemeClr val="tx1">
                  <a:lumMod val="50000"/>
                  <a:lumOff val="50000"/>
                </a:schemeClr>
              </a:solidFill>
              <a:latin typeface="Inter" panose="02000503000000020004" pitchFamily="2" charset="0"/>
              <a:ea typeface="Inter" panose="02000503000000020004" pitchFamily="2" charset="0"/>
            </a:endParaRPr>
          </a:p>
        </p:txBody>
      </p:sp>
      <p:sp>
        <p:nvSpPr>
          <p:cNvPr id="128" name="Oval 127">
            <a:extLst>
              <a:ext uri="{FF2B5EF4-FFF2-40B4-BE49-F238E27FC236}">
                <a16:creationId xmlns:a16="http://schemas.microsoft.com/office/drawing/2014/main" id="{17F31CC6-9BC8-D996-138A-B6F231E57214}"/>
              </a:ext>
            </a:extLst>
          </p:cNvPr>
          <p:cNvSpPr/>
          <p:nvPr/>
        </p:nvSpPr>
        <p:spPr>
          <a:xfrm>
            <a:off x="6433949" y="1878090"/>
            <a:ext cx="3182985" cy="3182985"/>
          </a:xfrm>
          <a:prstGeom prst="ellipse">
            <a:avLst/>
          </a:prstGeom>
          <a:solidFill>
            <a:schemeClr val="accent3">
              <a:lumMod val="20000"/>
              <a:lumOff val="80000"/>
            </a:schemeClr>
          </a:solidFill>
          <a:ln w="12700" cap="flat" cmpd="sng" algn="ctr">
            <a:noFill/>
            <a:prstDash val="solid"/>
            <a:miter lim="800000"/>
          </a:ln>
          <a:effectLst/>
        </p:spPr>
        <p:txBody>
          <a:bodyPr lIns="0" rIns="0" rtlCol="0" anchor="t"/>
          <a:lstStyle/>
          <a:p>
            <a:pPr marL="0" marR="0" lvl="0" indent="0" algn="ctr" defTabSz="1828709"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FFFFFF"/>
                </a:solidFill>
                <a:effectLst/>
                <a:uLnTx/>
                <a:uFillTx/>
                <a:latin typeface="Century Gothic" panose="020F0302020204030204"/>
                <a:ea typeface="+mn-ea"/>
                <a:cs typeface="+mn-cs"/>
              </a:rPr>
              <a:t>2050</a:t>
            </a:r>
          </a:p>
        </p:txBody>
      </p:sp>
      <p:sp>
        <p:nvSpPr>
          <p:cNvPr id="129" name="Oval 128">
            <a:extLst>
              <a:ext uri="{FF2B5EF4-FFF2-40B4-BE49-F238E27FC236}">
                <a16:creationId xmlns:a16="http://schemas.microsoft.com/office/drawing/2014/main" id="{E9EAC277-A3D2-9149-6BA4-2AA988A5F875}"/>
              </a:ext>
            </a:extLst>
          </p:cNvPr>
          <p:cNvSpPr/>
          <p:nvPr/>
        </p:nvSpPr>
        <p:spPr>
          <a:xfrm>
            <a:off x="7268277" y="3469582"/>
            <a:ext cx="1544140" cy="1586374"/>
          </a:xfrm>
          <a:prstGeom prst="ellipse">
            <a:avLst/>
          </a:prstGeom>
          <a:solidFill>
            <a:schemeClr val="accent3">
              <a:lumMod val="60000"/>
              <a:lumOff val="40000"/>
            </a:schemeClr>
          </a:solidFill>
          <a:ln w="12700" cap="flat" cmpd="sng" algn="ctr">
            <a:noFill/>
            <a:prstDash val="solid"/>
            <a:miter lim="800000"/>
          </a:ln>
          <a:effectLst/>
        </p:spPr>
        <p:txBody>
          <a:bodyPr lIns="0" rIns="0" rtlCol="0" anchor="t"/>
          <a:lstStyle/>
          <a:p>
            <a:pPr marL="0" marR="0" lvl="0" indent="0" algn="ctr" defTabSz="1828709"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Century Gothic" panose="020F0302020204030204"/>
                <a:ea typeface="+mn-ea"/>
                <a:cs typeface="+mn-cs"/>
              </a:rPr>
              <a:t>2030</a:t>
            </a:r>
          </a:p>
        </p:txBody>
      </p:sp>
      <p:cxnSp>
        <p:nvCxnSpPr>
          <p:cNvPr id="130" name="Straight Connector 129">
            <a:extLst>
              <a:ext uri="{FF2B5EF4-FFF2-40B4-BE49-F238E27FC236}">
                <a16:creationId xmlns:a16="http://schemas.microsoft.com/office/drawing/2014/main" id="{52BEA7E9-16C2-0C6A-E5FF-D0B120A1FA50}"/>
              </a:ext>
            </a:extLst>
          </p:cNvPr>
          <p:cNvCxnSpPr>
            <a:cxnSpLocks/>
          </p:cNvCxnSpPr>
          <p:nvPr/>
        </p:nvCxnSpPr>
        <p:spPr>
          <a:xfrm>
            <a:off x="8448444" y="3858824"/>
            <a:ext cx="1188000" cy="0"/>
          </a:xfrm>
          <a:prstGeom prst="line">
            <a:avLst/>
          </a:prstGeom>
          <a:noFill/>
          <a:ln w="3175" cap="flat" cmpd="sng" algn="ctr">
            <a:solidFill>
              <a:srgbClr val="000000"/>
            </a:solidFill>
            <a:prstDash val="solid"/>
            <a:miter lim="800000"/>
            <a:headEnd type="none"/>
            <a:tailEnd type="oval"/>
          </a:ln>
          <a:effectLst/>
        </p:spPr>
      </p:cxnSp>
      <p:cxnSp>
        <p:nvCxnSpPr>
          <p:cNvPr id="131" name="Straight Connector 130">
            <a:extLst>
              <a:ext uri="{FF2B5EF4-FFF2-40B4-BE49-F238E27FC236}">
                <a16:creationId xmlns:a16="http://schemas.microsoft.com/office/drawing/2014/main" id="{25423232-0369-7DEB-9A07-1ECCE835DA4C}"/>
              </a:ext>
            </a:extLst>
          </p:cNvPr>
          <p:cNvCxnSpPr>
            <a:cxnSpLocks/>
          </p:cNvCxnSpPr>
          <p:nvPr/>
        </p:nvCxnSpPr>
        <p:spPr>
          <a:xfrm>
            <a:off x="8461144" y="2558830"/>
            <a:ext cx="1188000" cy="0"/>
          </a:xfrm>
          <a:prstGeom prst="line">
            <a:avLst/>
          </a:prstGeom>
          <a:noFill/>
          <a:ln w="3175" cap="flat" cmpd="sng" algn="ctr">
            <a:solidFill>
              <a:srgbClr val="000000"/>
            </a:solidFill>
            <a:prstDash val="solid"/>
            <a:miter lim="800000"/>
            <a:headEnd type="none"/>
            <a:tailEnd type="oval"/>
          </a:ln>
          <a:effectLst/>
        </p:spPr>
      </p:cxnSp>
      <p:cxnSp>
        <p:nvCxnSpPr>
          <p:cNvPr id="132" name="Straight Connector 131">
            <a:extLst>
              <a:ext uri="{FF2B5EF4-FFF2-40B4-BE49-F238E27FC236}">
                <a16:creationId xmlns:a16="http://schemas.microsoft.com/office/drawing/2014/main" id="{A81A628B-E392-18F8-7C1B-E116B66BAD2D}"/>
              </a:ext>
            </a:extLst>
          </p:cNvPr>
          <p:cNvCxnSpPr>
            <a:cxnSpLocks/>
          </p:cNvCxnSpPr>
          <p:nvPr/>
        </p:nvCxnSpPr>
        <p:spPr>
          <a:xfrm>
            <a:off x="8473844" y="4717830"/>
            <a:ext cx="1188000" cy="0"/>
          </a:xfrm>
          <a:prstGeom prst="line">
            <a:avLst/>
          </a:prstGeom>
          <a:noFill/>
          <a:ln w="3175" cap="flat" cmpd="sng" algn="ctr">
            <a:solidFill>
              <a:srgbClr val="000000"/>
            </a:solidFill>
            <a:prstDash val="solid"/>
            <a:miter lim="800000"/>
            <a:headEnd type="none"/>
            <a:tailEnd type="oval"/>
          </a:ln>
          <a:effectLst/>
        </p:spPr>
      </p:cxnSp>
      <p:sp>
        <p:nvSpPr>
          <p:cNvPr id="133" name="Rectangle 132">
            <a:extLst>
              <a:ext uri="{FF2B5EF4-FFF2-40B4-BE49-F238E27FC236}">
                <a16:creationId xmlns:a16="http://schemas.microsoft.com/office/drawing/2014/main" id="{DEB24FD6-6534-CCE3-5B16-898433340E34}"/>
              </a:ext>
            </a:extLst>
          </p:cNvPr>
          <p:cNvSpPr/>
          <p:nvPr/>
        </p:nvSpPr>
        <p:spPr>
          <a:xfrm>
            <a:off x="9723634" y="2472107"/>
            <a:ext cx="2035793" cy="173445"/>
          </a:xfrm>
          <a:prstGeom prst="rect">
            <a:avLst/>
          </a:prstGeom>
          <a:noFill/>
          <a:ln w="12700" cap="flat" cmpd="sng" algn="ctr">
            <a:noFill/>
            <a:prstDash val="solid"/>
            <a:miter lim="800000"/>
          </a:ln>
          <a:effectLst/>
        </p:spPr>
        <p:txBody>
          <a:bodyPr wrap="square" lIns="0" tIns="0" rIns="0" bIns="0" rtlCol="0" anchor="ctr">
            <a:spAutoFit/>
          </a:bodyPr>
          <a:lstStyle/>
          <a:p>
            <a:pPr marL="0" marR="0" lvl="0" indent="0" defTabSz="1828709" eaLnBrk="1" fontAlgn="auto" latinLnBrk="0" hangingPunct="1">
              <a:lnSpc>
                <a:spcPct val="110000"/>
              </a:lnSpc>
              <a:spcBef>
                <a:spcPts val="0"/>
              </a:spcBef>
              <a:spcAft>
                <a:spcPts val="0"/>
              </a:spcAft>
              <a:buClrTx/>
              <a:buSzTx/>
              <a:buFontTx/>
              <a:buNone/>
              <a:tabLst/>
              <a:defRPr/>
            </a:pPr>
            <a:r>
              <a:rPr kumimoji="0" lang="en-AU" sz="1100" b="0" i="0" u="none" strike="noStrike" kern="0" cap="none" spc="0" normalizeH="0" baseline="0" noProof="0" dirty="0">
                <a:ln>
                  <a:noFill/>
                </a:ln>
                <a:solidFill>
                  <a:srgbClr val="000000"/>
                </a:solidFill>
                <a:effectLst/>
                <a:uLnTx/>
                <a:uFillTx/>
                <a:latin typeface="Inter" panose="02000503000000020004" pitchFamily="2" charset="0"/>
                <a:ea typeface="Inter" panose="02000503000000020004" pitchFamily="2" charset="0"/>
                <a:cs typeface="Calibri" panose="020F0502020204030204" pitchFamily="34" charset="0"/>
              </a:rPr>
              <a:t>&lt; 7.0-13.0 Gt</a:t>
            </a:r>
          </a:p>
        </p:txBody>
      </p:sp>
      <p:sp>
        <p:nvSpPr>
          <p:cNvPr id="134" name="Rectangle 133">
            <a:extLst>
              <a:ext uri="{FF2B5EF4-FFF2-40B4-BE49-F238E27FC236}">
                <a16:creationId xmlns:a16="http://schemas.microsoft.com/office/drawing/2014/main" id="{1746A721-6052-7495-F299-DF4A6C85E77E}"/>
              </a:ext>
            </a:extLst>
          </p:cNvPr>
          <p:cNvSpPr/>
          <p:nvPr/>
        </p:nvSpPr>
        <p:spPr>
          <a:xfrm>
            <a:off x="9732858" y="3753776"/>
            <a:ext cx="1093820" cy="173445"/>
          </a:xfrm>
          <a:prstGeom prst="rect">
            <a:avLst/>
          </a:prstGeom>
          <a:noFill/>
          <a:ln w="12700" cap="flat" cmpd="sng" algn="ctr">
            <a:noFill/>
            <a:prstDash val="solid"/>
            <a:miter lim="800000"/>
          </a:ln>
          <a:effectLst/>
        </p:spPr>
        <p:txBody>
          <a:bodyPr wrap="square" lIns="0" tIns="0" rIns="0" bIns="0" rtlCol="0" anchor="ctr">
            <a:spAutoFit/>
          </a:bodyPr>
          <a:lstStyle/>
          <a:p>
            <a:pPr marL="0" marR="0" lvl="0" indent="0" defTabSz="1828709" eaLnBrk="1" fontAlgn="auto" latinLnBrk="0" hangingPunct="1">
              <a:lnSpc>
                <a:spcPct val="110000"/>
              </a:lnSpc>
              <a:spcBef>
                <a:spcPts val="0"/>
              </a:spcBef>
              <a:spcAft>
                <a:spcPts val="0"/>
              </a:spcAft>
              <a:buClrTx/>
              <a:buSzTx/>
              <a:buFontTx/>
              <a:buNone/>
              <a:tabLst/>
              <a:defRPr/>
            </a:pPr>
            <a:r>
              <a:rPr kumimoji="0" lang="en-AU" sz="1100" b="0" i="0" u="none" strike="noStrike" kern="0" cap="none" spc="0" normalizeH="0" baseline="0" noProof="0" dirty="0">
                <a:ln>
                  <a:noFill/>
                </a:ln>
                <a:solidFill>
                  <a:srgbClr val="000000"/>
                </a:solidFill>
                <a:effectLst/>
                <a:uLnTx/>
                <a:uFillTx/>
                <a:latin typeface="Inter" panose="02000503000000020004" pitchFamily="2" charset="0"/>
                <a:ea typeface="Inter" panose="02000503000000020004" pitchFamily="2" charset="0"/>
                <a:cs typeface="Calibri" panose="020F0502020204030204" pitchFamily="34" charset="0"/>
              </a:rPr>
              <a:t>~1.1 Gt</a:t>
            </a:r>
          </a:p>
        </p:txBody>
      </p:sp>
      <p:sp>
        <p:nvSpPr>
          <p:cNvPr id="135" name="Rectangle 134">
            <a:extLst>
              <a:ext uri="{FF2B5EF4-FFF2-40B4-BE49-F238E27FC236}">
                <a16:creationId xmlns:a16="http://schemas.microsoft.com/office/drawing/2014/main" id="{B7A61915-18E1-8B58-07D1-3A3FAA729A01}"/>
              </a:ext>
            </a:extLst>
          </p:cNvPr>
          <p:cNvSpPr/>
          <p:nvPr/>
        </p:nvSpPr>
        <p:spPr>
          <a:xfrm>
            <a:off x="9745558" y="4631984"/>
            <a:ext cx="1093820" cy="173445"/>
          </a:xfrm>
          <a:prstGeom prst="rect">
            <a:avLst/>
          </a:prstGeom>
          <a:noFill/>
          <a:ln w="12700" cap="flat" cmpd="sng" algn="ctr">
            <a:noFill/>
            <a:prstDash val="solid"/>
            <a:miter lim="800000"/>
          </a:ln>
          <a:effectLst/>
        </p:spPr>
        <p:txBody>
          <a:bodyPr wrap="square" lIns="0" tIns="0" rIns="0" bIns="0" rtlCol="0" anchor="ctr">
            <a:spAutoFit/>
          </a:bodyPr>
          <a:lstStyle/>
          <a:p>
            <a:pPr marL="0" marR="0" lvl="0" indent="0" defTabSz="1828709" eaLnBrk="1" fontAlgn="auto" latinLnBrk="0" hangingPunct="1">
              <a:lnSpc>
                <a:spcPct val="110000"/>
              </a:lnSpc>
              <a:spcBef>
                <a:spcPts val="0"/>
              </a:spcBef>
              <a:spcAft>
                <a:spcPts val="0"/>
              </a:spcAft>
              <a:buClrTx/>
              <a:buSzTx/>
              <a:buFontTx/>
              <a:buNone/>
              <a:tabLst/>
              <a:defRPr/>
            </a:pPr>
            <a:r>
              <a:rPr kumimoji="0" lang="en-AU" sz="1100" b="0" i="0" u="none" strike="noStrike" kern="0" cap="none" spc="0" normalizeH="0" baseline="0" noProof="0" dirty="0">
                <a:ln>
                  <a:noFill/>
                </a:ln>
                <a:solidFill>
                  <a:srgbClr val="000000"/>
                </a:solidFill>
                <a:effectLst/>
                <a:uLnTx/>
                <a:uFillTx/>
                <a:latin typeface="Inter" panose="02000503000000020004" pitchFamily="2" charset="0"/>
                <a:ea typeface="Inter" panose="02000503000000020004" pitchFamily="2" charset="0"/>
                <a:cs typeface="Calibri" panose="020F0502020204030204" pitchFamily="34" charset="0"/>
              </a:rPr>
              <a:t>0.1 Gt</a:t>
            </a:r>
          </a:p>
        </p:txBody>
      </p:sp>
      <p:cxnSp>
        <p:nvCxnSpPr>
          <p:cNvPr id="136" name="Elbow Connector 40">
            <a:extLst>
              <a:ext uri="{FF2B5EF4-FFF2-40B4-BE49-F238E27FC236}">
                <a16:creationId xmlns:a16="http://schemas.microsoft.com/office/drawing/2014/main" id="{E7B130FE-F703-1041-D6B6-64693C9135A0}"/>
              </a:ext>
            </a:extLst>
          </p:cNvPr>
          <p:cNvCxnSpPr/>
          <p:nvPr/>
        </p:nvCxnSpPr>
        <p:spPr>
          <a:xfrm>
            <a:off x="10381164" y="3824834"/>
            <a:ext cx="21239" cy="900000"/>
          </a:xfrm>
          <a:prstGeom prst="bentConnector3">
            <a:avLst>
              <a:gd name="adj1" fmla="val 1800000"/>
            </a:avLst>
          </a:prstGeom>
          <a:noFill/>
          <a:ln w="12700" cap="flat" cmpd="sng" algn="ctr">
            <a:solidFill>
              <a:schemeClr val="bg1">
                <a:lumMod val="75000"/>
              </a:schemeClr>
            </a:solidFill>
            <a:prstDash val="solid"/>
            <a:miter lim="800000"/>
          </a:ln>
          <a:effectLst/>
        </p:spPr>
      </p:cxnSp>
      <p:sp>
        <p:nvSpPr>
          <p:cNvPr id="137" name="Rectangle 136">
            <a:extLst>
              <a:ext uri="{FF2B5EF4-FFF2-40B4-BE49-F238E27FC236}">
                <a16:creationId xmlns:a16="http://schemas.microsoft.com/office/drawing/2014/main" id="{2EA376FC-2D43-0DC1-6C13-5CB4BC4EB3AD}"/>
              </a:ext>
            </a:extLst>
          </p:cNvPr>
          <p:cNvSpPr/>
          <p:nvPr/>
        </p:nvSpPr>
        <p:spPr>
          <a:xfrm>
            <a:off x="10274969" y="4101427"/>
            <a:ext cx="987625" cy="316340"/>
          </a:xfrm>
          <a:prstGeom prst="rect">
            <a:avLst/>
          </a:prstGeom>
          <a:solidFill>
            <a:srgbClr val="FFFFFF"/>
          </a:solidFill>
          <a:ln w="12700" cap="flat" cmpd="sng" algn="ctr">
            <a:noFill/>
            <a:prstDash val="solid"/>
            <a:miter lim="800000"/>
          </a:ln>
          <a:effectLst/>
        </p:spPr>
        <p:txBody>
          <a:bodyPr wrap="square" lIns="0" tIns="71995" rIns="0" bIns="71995" rtlCol="0" anchor="ctr">
            <a:spAutoFit/>
          </a:bodyPr>
          <a:lstStyle/>
          <a:p>
            <a:pPr marL="0" marR="0" lvl="0" indent="0" algn="ctr" defTabSz="1828709" eaLnBrk="1" fontAlgn="auto" latinLnBrk="0" hangingPunct="1">
              <a:lnSpc>
                <a:spcPct val="110000"/>
              </a:lnSpc>
              <a:spcBef>
                <a:spcPts val="0"/>
              </a:spcBef>
              <a:spcAft>
                <a:spcPts val="0"/>
              </a:spcAft>
              <a:buClrTx/>
              <a:buSzTx/>
              <a:buFontTx/>
              <a:buNone/>
              <a:tabLst/>
              <a:defRPr/>
            </a:pPr>
            <a:r>
              <a:rPr kumimoji="0" lang="en-AU" sz="1100" b="0" i="0" u="none" strike="noStrike" kern="0" cap="none" spc="0" normalizeH="0" baseline="0" noProof="0" dirty="0">
                <a:ln>
                  <a:noFill/>
                </a:ln>
                <a:solidFill>
                  <a:srgbClr val="000000"/>
                </a:solidFill>
                <a:effectLst/>
                <a:uLnTx/>
                <a:uFillTx/>
                <a:latin typeface="Century Gothic" panose="020F0302020204030204"/>
                <a:ea typeface="+mn-ea"/>
                <a:cs typeface="Calibri" panose="020F0502020204030204" pitchFamily="34" charset="0"/>
              </a:rPr>
              <a:t>~ 10x</a:t>
            </a:r>
          </a:p>
        </p:txBody>
      </p:sp>
      <p:cxnSp>
        <p:nvCxnSpPr>
          <p:cNvPr id="138" name="Elbow Connector 51">
            <a:extLst>
              <a:ext uri="{FF2B5EF4-FFF2-40B4-BE49-F238E27FC236}">
                <a16:creationId xmlns:a16="http://schemas.microsoft.com/office/drawing/2014/main" id="{CA883ECE-3157-819F-9BE1-25C318AF60C2}"/>
              </a:ext>
            </a:extLst>
          </p:cNvPr>
          <p:cNvCxnSpPr>
            <a:cxnSpLocks/>
          </p:cNvCxnSpPr>
          <p:nvPr/>
        </p:nvCxnSpPr>
        <p:spPr>
          <a:xfrm>
            <a:off x="10910574" y="2558097"/>
            <a:ext cx="217203" cy="2160000"/>
          </a:xfrm>
          <a:prstGeom prst="bentConnector3">
            <a:avLst>
              <a:gd name="adj1" fmla="val 205247"/>
            </a:avLst>
          </a:prstGeom>
          <a:noFill/>
          <a:ln w="12700" cap="flat" cmpd="sng" algn="ctr">
            <a:solidFill>
              <a:schemeClr val="bg1">
                <a:lumMod val="75000"/>
              </a:schemeClr>
            </a:solidFill>
            <a:prstDash val="solid"/>
            <a:miter lim="800000"/>
          </a:ln>
          <a:effectLst/>
        </p:spPr>
      </p:cxnSp>
      <p:sp>
        <p:nvSpPr>
          <p:cNvPr id="139" name="Rectangle 138">
            <a:extLst>
              <a:ext uri="{FF2B5EF4-FFF2-40B4-BE49-F238E27FC236}">
                <a16:creationId xmlns:a16="http://schemas.microsoft.com/office/drawing/2014/main" id="{14A4FF1D-B0C6-A70A-B92E-34E90FED6220}"/>
              </a:ext>
            </a:extLst>
          </p:cNvPr>
          <p:cNvSpPr/>
          <p:nvPr/>
        </p:nvSpPr>
        <p:spPr>
          <a:xfrm>
            <a:off x="10079657" y="5729780"/>
            <a:ext cx="395227" cy="395227"/>
          </a:xfrm>
          <a:prstGeom prst="rect">
            <a:avLst/>
          </a:prstGeom>
          <a:noFill/>
          <a:ln w="12700" cap="flat" cmpd="sng" algn="ctr">
            <a:noFill/>
            <a:prstDash val="solid"/>
            <a:miter lim="800000"/>
          </a:ln>
          <a:effectLst/>
        </p:spPr>
        <p:txBody>
          <a:bodyPr rtlCol="0" anchor="ctr"/>
          <a:lstStyle/>
          <a:p>
            <a:pPr marL="0" marR="0" lvl="0" indent="0" algn="ctr" defTabSz="1828709" eaLnBrk="1" fontAlgn="auto" latinLnBrk="0" hangingPunct="1">
              <a:lnSpc>
                <a:spcPct val="100000"/>
              </a:lnSpc>
              <a:spcBef>
                <a:spcPts val="0"/>
              </a:spcBef>
              <a:spcAft>
                <a:spcPts val="0"/>
              </a:spcAft>
              <a:buClrTx/>
              <a:buSzTx/>
              <a:buFontTx/>
              <a:buNone/>
              <a:tabLst/>
              <a:defRPr/>
            </a:pPr>
            <a:endParaRPr kumimoji="0" lang="en-AU" sz="3600" b="0" i="0" u="none" strike="noStrike" kern="0" cap="none" spc="0" normalizeH="0" baseline="0" noProof="0">
              <a:ln>
                <a:noFill/>
              </a:ln>
              <a:solidFill>
                <a:srgbClr val="FFFFFF"/>
              </a:solidFill>
              <a:effectLst/>
              <a:uLnTx/>
              <a:uFillTx/>
              <a:latin typeface="Century Gothic" panose="020F0302020204030204"/>
              <a:ea typeface="+mn-ea"/>
              <a:cs typeface="+mn-cs"/>
            </a:endParaRPr>
          </a:p>
        </p:txBody>
      </p:sp>
      <p:sp>
        <p:nvSpPr>
          <p:cNvPr id="140" name="Rectangle 139">
            <a:extLst>
              <a:ext uri="{FF2B5EF4-FFF2-40B4-BE49-F238E27FC236}">
                <a16:creationId xmlns:a16="http://schemas.microsoft.com/office/drawing/2014/main" id="{7FD32EA6-7A6C-139F-D067-2B3C642FF5FD}"/>
              </a:ext>
            </a:extLst>
          </p:cNvPr>
          <p:cNvSpPr/>
          <p:nvPr/>
        </p:nvSpPr>
        <p:spPr>
          <a:xfrm>
            <a:off x="10447287" y="3457370"/>
            <a:ext cx="1713795" cy="318842"/>
          </a:xfrm>
          <a:prstGeom prst="rect">
            <a:avLst/>
          </a:prstGeom>
          <a:solidFill>
            <a:srgbClr val="FFFFFF"/>
          </a:solidFill>
          <a:ln w="12700" cap="flat" cmpd="sng" algn="ctr">
            <a:noFill/>
            <a:prstDash val="solid"/>
            <a:miter lim="800000"/>
          </a:ln>
          <a:effectLst/>
        </p:spPr>
        <p:txBody>
          <a:bodyPr wrap="square" lIns="0" tIns="71995" rIns="0" bIns="71995" rtlCol="0" anchor="ctr">
            <a:spAutoFit/>
          </a:bodyPr>
          <a:lstStyle/>
          <a:p>
            <a:pPr marL="0" marR="0" lvl="0" indent="0" algn="ctr" defTabSz="1828709" eaLnBrk="1" fontAlgn="auto" latinLnBrk="0" hangingPunct="1">
              <a:lnSpc>
                <a:spcPct val="110000"/>
              </a:lnSpc>
              <a:spcBef>
                <a:spcPts val="0"/>
              </a:spcBef>
              <a:spcAft>
                <a:spcPts val="0"/>
              </a:spcAft>
              <a:buClrTx/>
              <a:buSzTx/>
              <a:buFontTx/>
              <a:buNone/>
              <a:tabLst/>
              <a:defRPr/>
            </a:pPr>
            <a:r>
              <a:rPr kumimoji="0" lang="en-AU" sz="1100" b="0" i="0" u="none" strike="noStrike" kern="0" cap="none" spc="0" normalizeH="0" baseline="0" noProof="0" dirty="0">
                <a:ln>
                  <a:noFill/>
                </a:ln>
                <a:solidFill>
                  <a:srgbClr val="000000"/>
                </a:solidFill>
                <a:effectLst/>
                <a:uLnTx/>
                <a:uFillTx/>
                <a:latin typeface="Inter" panose="02000503000000020004" pitchFamily="2" charset="0"/>
                <a:ea typeface="Inter" panose="02000503000000020004" pitchFamily="2" charset="0"/>
                <a:cs typeface="Calibri" panose="020F0502020204030204" pitchFamily="34" charset="0"/>
              </a:rPr>
              <a:t>Up to 100x</a:t>
            </a:r>
          </a:p>
        </p:txBody>
      </p:sp>
      <p:sp>
        <p:nvSpPr>
          <p:cNvPr id="141" name="Oval 140">
            <a:extLst>
              <a:ext uri="{FF2B5EF4-FFF2-40B4-BE49-F238E27FC236}">
                <a16:creationId xmlns:a16="http://schemas.microsoft.com/office/drawing/2014/main" id="{BFDAA3E3-7C5D-80AC-876A-39B81B60ED2D}"/>
              </a:ext>
            </a:extLst>
          </p:cNvPr>
          <p:cNvSpPr/>
          <p:nvPr/>
        </p:nvSpPr>
        <p:spPr>
          <a:xfrm>
            <a:off x="7731000" y="4325812"/>
            <a:ext cx="730144" cy="730144"/>
          </a:xfrm>
          <a:prstGeom prst="ellipse">
            <a:avLst/>
          </a:prstGeom>
          <a:gradFill>
            <a:gsLst>
              <a:gs pos="31000">
                <a:srgbClr val="3D71C1"/>
              </a:gs>
              <a:gs pos="16000">
                <a:srgbClr val="4B87EA"/>
              </a:gs>
              <a:gs pos="54000">
                <a:srgbClr val="042345"/>
              </a:gs>
              <a:gs pos="79000">
                <a:srgbClr val="041A33"/>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latin typeface="Century Gothic" panose="020B0502020202020204" pitchFamily="34" charset="0"/>
                <a:ea typeface="Inter" panose="02000503000000020004" pitchFamily="2" charset="0"/>
              </a:rPr>
              <a:t>2020</a:t>
            </a:r>
            <a:endParaRPr lang="en-GB" sz="1100" b="1" u="sng" dirty="0">
              <a:latin typeface="Century Gothic" panose="020B0502020202020204" pitchFamily="34" charset="0"/>
              <a:ea typeface="Inter" panose="02000503000000020004" pitchFamily="2" charset="0"/>
            </a:endParaRPr>
          </a:p>
        </p:txBody>
      </p:sp>
      <p:sp>
        <p:nvSpPr>
          <p:cNvPr id="142" name="Rectangle 141">
            <a:extLst>
              <a:ext uri="{FF2B5EF4-FFF2-40B4-BE49-F238E27FC236}">
                <a16:creationId xmlns:a16="http://schemas.microsoft.com/office/drawing/2014/main" id="{62EFE34A-A4AF-6D6F-973C-F4AA04E87EDD}"/>
              </a:ext>
            </a:extLst>
          </p:cNvPr>
          <p:cNvSpPr/>
          <p:nvPr/>
        </p:nvSpPr>
        <p:spPr>
          <a:xfrm>
            <a:off x="6203159" y="1289176"/>
            <a:ext cx="5218516" cy="440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t"/>
          <a:lstStyle/>
          <a:p>
            <a:r>
              <a:rPr lang="en-GB" sz="1400" b="1" dirty="0">
                <a:solidFill>
                  <a:schemeClr val="tx1"/>
                </a:solidFill>
                <a:latin typeface="Inter" panose="02000503000000020004" pitchFamily="2" charset="0"/>
                <a:ea typeface="Inter" panose="02000503000000020004" pitchFamily="2" charset="0"/>
              </a:rPr>
              <a:t>10x growth is expected by 2030</a:t>
            </a:r>
            <a:r>
              <a:rPr lang="en-GB" sz="1100" b="1" dirty="0">
                <a:solidFill>
                  <a:schemeClr val="tx1"/>
                </a:solidFill>
                <a:latin typeface="Inter" panose="02000503000000020004" pitchFamily="2" charset="0"/>
                <a:ea typeface="Inter" panose="02000503000000020004" pitchFamily="2" charset="0"/>
              </a:rPr>
              <a:t> </a:t>
            </a:r>
          </a:p>
          <a:p>
            <a:r>
              <a:rPr lang="en-AU" sz="1100" kern="0" dirty="0">
                <a:solidFill>
                  <a:schemeClr val="tx1">
                    <a:lumMod val="50000"/>
                    <a:lumOff val="50000"/>
                  </a:schemeClr>
                </a:solidFill>
                <a:latin typeface="Inter" panose="02000503000000020004" pitchFamily="2" charset="0"/>
                <a:ea typeface="Inter" panose="02000503000000020004" pitchFamily="2" charset="0"/>
                <a:cs typeface="Calibri" panose="020F0502020204030204" pitchFamily="34" charset="0"/>
              </a:rPr>
              <a:t>Voluntary market demand scenarios (GtCO</a:t>
            </a:r>
            <a:r>
              <a:rPr lang="en-AU" sz="1100" kern="0" baseline="-25000" dirty="0">
                <a:solidFill>
                  <a:schemeClr val="tx1">
                    <a:lumMod val="50000"/>
                    <a:lumOff val="50000"/>
                  </a:schemeClr>
                </a:solidFill>
                <a:latin typeface="Inter" panose="02000503000000020004" pitchFamily="2" charset="0"/>
                <a:ea typeface="Inter" panose="02000503000000020004" pitchFamily="2" charset="0"/>
                <a:cs typeface="Calibri" panose="020F0502020204030204" pitchFamily="34" charset="0"/>
              </a:rPr>
              <a:t>2</a:t>
            </a:r>
            <a:r>
              <a:rPr lang="en-AU" sz="1100" kern="0" dirty="0">
                <a:solidFill>
                  <a:schemeClr val="tx1">
                    <a:lumMod val="50000"/>
                    <a:lumOff val="50000"/>
                  </a:schemeClr>
                </a:solidFill>
                <a:latin typeface="Inter" panose="02000503000000020004" pitchFamily="2" charset="0"/>
                <a:ea typeface="Inter" panose="02000503000000020004" pitchFamily="2" charset="0"/>
                <a:cs typeface="Calibri" panose="020F0502020204030204" pitchFamily="34" charset="0"/>
              </a:rPr>
              <a:t>e per year) </a:t>
            </a:r>
          </a:p>
        </p:txBody>
      </p:sp>
      <p:cxnSp>
        <p:nvCxnSpPr>
          <p:cNvPr id="143" name="Straight Arrow Connector 142">
            <a:extLst>
              <a:ext uri="{FF2B5EF4-FFF2-40B4-BE49-F238E27FC236}">
                <a16:creationId xmlns:a16="http://schemas.microsoft.com/office/drawing/2014/main" id="{4B52C53A-1A9F-20B0-4746-D9DB0B510FC1}"/>
              </a:ext>
            </a:extLst>
          </p:cNvPr>
          <p:cNvCxnSpPr>
            <a:cxnSpLocks/>
          </p:cNvCxnSpPr>
          <p:nvPr/>
        </p:nvCxnSpPr>
        <p:spPr>
          <a:xfrm>
            <a:off x="5880477" y="3967851"/>
            <a:ext cx="1837823" cy="723033"/>
          </a:xfrm>
          <a:prstGeom prst="straightConnector1">
            <a:avLst/>
          </a:prstGeom>
          <a:ln w="31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3B2F610F-38A7-D80B-CF0B-0673CE7DBA5F}"/>
              </a:ext>
            </a:extLst>
          </p:cNvPr>
          <p:cNvCxnSpPr/>
          <p:nvPr/>
        </p:nvCxnSpPr>
        <p:spPr>
          <a:xfrm>
            <a:off x="608193" y="5327004"/>
            <a:ext cx="1080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9" name="Rectangle 158">
            <a:extLst>
              <a:ext uri="{FF2B5EF4-FFF2-40B4-BE49-F238E27FC236}">
                <a16:creationId xmlns:a16="http://schemas.microsoft.com/office/drawing/2014/main" id="{B1FCE8A4-1FAF-7D95-C675-50266939EDEC}"/>
              </a:ext>
            </a:extLst>
          </p:cNvPr>
          <p:cNvSpPr/>
          <p:nvPr/>
        </p:nvSpPr>
        <p:spPr>
          <a:xfrm>
            <a:off x="608193" y="5628348"/>
            <a:ext cx="5019721" cy="8361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45720" rtlCol="0" anchor="t"/>
          <a:lstStyle/>
          <a:p>
            <a:r>
              <a:rPr lang="en-GB" sz="1600" b="1" dirty="0">
                <a:solidFill>
                  <a:schemeClr val="tx1"/>
                </a:solidFill>
                <a:latin typeface="Inter"/>
                <a:ea typeface="Inter" panose="02000503000000020004" pitchFamily="2" charset="0"/>
              </a:rPr>
              <a:t>36% of the S&amp;P 500 buy carbon credits</a:t>
            </a:r>
            <a:endParaRPr lang="en-GB" sz="1200" b="1" dirty="0">
              <a:solidFill>
                <a:schemeClr val="tx1"/>
              </a:solidFill>
              <a:latin typeface="Inter"/>
              <a:ea typeface="Inter" panose="02000503000000020004" pitchFamily="2" charset="0"/>
            </a:endParaRPr>
          </a:p>
          <a:p>
            <a:r>
              <a:rPr lang="en-GB" sz="1200" dirty="0">
                <a:solidFill>
                  <a:schemeClr val="tx1">
                    <a:lumMod val="50000"/>
                    <a:lumOff val="50000"/>
                  </a:schemeClr>
                </a:solidFill>
                <a:latin typeface="Inter"/>
                <a:ea typeface="Inter" panose="02000503000000020004" pitchFamily="2" charset="0"/>
              </a:rPr>
              <a:t>Major sectors include tech companies, Oil &amp; Gas, FMCG &amp; consumer goods, airlines and increasingly FIs</a:t>
            </a:r>
          </a:p>
        </p:txBody>
      </p:sp>
      <p:sp>
        <p:nvSpPr>
          <p:cNvPr id="161" name="Text Placeholder 3">
            <a:extLst>
              <a:ext uri="{FF2B5EF4-FFF2-40B4-BE49-F238E27FC236}">
                <a16:creationId xmlns:a16="http://schemas.microsoft.com/office/drawing/2014/main" id="{4D4228B6-394F-64AC-17F2-5C14BBAD9B46}"/>
              </a:ext>
            </a:extLst>
          </p:cNvPr>
          <p:cNvSpPr>
            <a:spLocks noGrp="1"/>
          </p:cNvSpPr>
          <p:nvPr>
            <p:ph type="body" sz="quarter" idx="52"/>
          </p:nvPr>
        </p:nvSpPr>
        <p:spPr>
          <a:xfrm>
            <a:off x="360364" y="6531443"/>
            <a:ext cx="4348870" cy="248710"/>
          </a:xfrm>
        </p:spPr>
        <p:txBody>
          <a:bodyPr/>
          <a:lstStyle/>
          <a:p>
            <a:r>
              <a:rPr lang="en-US" dirty="0"/>
              <a:t>Source: Ecosystem Marketplace, McKinsey/WEF, Capital Monitor, Shell/BCG</a:t>
            </a:r>
          </a:p>
        </p:txBody>
      </p:sp>
      <p:grpSp>
        <p:nvGrpSpPr>
          <p:cNvPr id="162" name="Group 161">
            <a:extLst>
              <a:ext uri="{FF2B5EF4-FFF2-40B4-BE49-F238E27FC236}">
                <a16:creationId xmlns:a16="http://schemas.microsoft.com/office/drawing/2014/main" id="{58DAE113-9987-D62F-DBA0-2FE4B3738C5D}"/>
              </a:ext>
            </a:extLst>
          </p:cNvPr>
          <p:cNvGrpSpPr/>
          <p:nvPr/>
        </p:nvGrpSpPr>
        <p:grpSpPr>
          <a:xfrm>
            <a:off x="5847442" y="5672293"/>
            <a:ext cx="5560751" cy="628091"/>
            <a:chOff x="1825335" y="11438873"/>
            <a:chExt cx="10009812" cy="1130617"/>
          </a:xfrm>
        </p:grpSpPr>
        <p:pic>
          <p:nvPicPr>
            <p:cNvPr id="163" name="Picture 162">
              <a:extLst>
                <a:ext uri="{FF2B5EF4-FFF2-40B4-BE49-F238E27FC236}">
                  <a16:creationId xmlns:a16="http://schemas.microsoft.com/office/drawing/2014/main" id="{35B65CBA-E810-659E-3A05-8A284FAAEE39}"/>
                </a:ext>
              </a:extLst>
            </p:cNvPr>
            <p:cNvPicPr>
              <a:picLocks noChangeAspect="1"/>
            </p:cNvPicPr>
            <p:nvPr/>
          </p:nvPicPr>
          <p:blipFill rotWithShape="1">
            <a:blip r:embed="rId6"/>
            <a:srcRect b="83877"/>
            <a:stretch/>
          </p:blipFill>
          <p:spPr>
            <a:xfrm>
              <a:off x="1825335" y="11491327"/>
              <a:ext cx="4931975" cy="367302"/>
            </a:xfrm>
            <a:prstGeom prst="rect">
              <a:avLst/>
            </a:prstGeom>
          </p:spPr>
        </p:pic>
        <p:pic>
          <p:nvPicPr>
            <p:cNvPr id="164" name="Picture 163">
              <a:extLst>
                <a:ext uri="{FF2B5EF4-FFF2-40B4-BE49-F238E27FC236}">
                  <a16:creationId xmlns:a16="http://schemas.microsoft.com/office/drawing/2014/main" id="{10725DFC-27DA-E16D-4FA6-8E9F6374A7BA}"/>
                </a:ext>
              </a:extLst>
            </p:cNvPr>
            <p:cNvPicPr>
              <a:picLocks noChangeAspect="1"/>
            </p:cNvPicPr>
            <p:nvPr/>
          </p:nvPicPr>
          <p:blipFill rotWithShape="1">
            <a:blip r:embed="rId6"/>
            <a:srcRect t="25986" b="57891"/>
            <a:stretch/>
          </p:blipFill>
          <p:spPr>
            <a:xfrm>
              <a:off x="6903172" y="11438873"/>
              <a:ext cx="4931975" cy="367302"/>
            </a:xfrm>
            <a:prstGeom prst="rect">
              <a:avLst/>
            </a:prstGeom>
          </p:spPr>
        </p:pic>
        <p:pic>
          <p:nvPicPr>
            <p:cNvPr id="165" name="Picture 164">
              <a:extLst>
                <a:ext uri="{FF2B5EF4-FFF2-40B4-BE49-F238E27FC236}">
                  <a16:creationId xmlns:a16="http://schemas.microsoft.com/office/drawing/2014/main" id="{E0ECE010-5673-AD38-6587-AF30480D6D8E}"/>
                </a:ext>
              </a:extLst>
            </p:cNvPr>
            <p:cNvPicPr>
              <a:picLocks noChangeAspect="1"/>
            </p:cNvPicPr>
            <p:nvPr/>
          </p:nvPicPr>
          <p:blipFill rotWithShape="1">
            <a:blip r:embed="rId6"/>
            <a:srcRect t="52303" b="24341"/>
            <a:stretch/>
          </p:blipFill>
          <p:spPr>
            <a:xfrm>
              <a:off x="1825335" y="12037430"/>
              <a:ext cx="4931975" cy="532060"/>
            </a:xfrm>
            <a:prstGeom prst="rect">
              <a:avLst/>
            </a:prstGeom>
          </p:spPr>
        </p:pic>
        <p:pic>
          <p:nvPicPr>
            <p:cNvPr id="166" name="Picture 165">
              <a:extLst>
                <a:ext uri="{FF2B5EF4-FFF2-40B4-BE49-F238E27FC236}">
                  <a16:creationId xmlns:a16="http://schemas.microsoft.com/office/drawing/2014/main" id="{FC2880B6-C39C-51A3-04F7-90F03ABCB4CB}"/>
                </a:ext>
              </a:extLst>
            </p:cNvPr>
            <p:cNvPicPr>
              <a:picLocks noChangeAspect="1"/>
            </p:cNvPicPr>
            <p:nvPr/>
          </p:nvPicPr>
          <p:blipFill rotWithShape="1">
            <a:blip r:embed="rId6"/>
            <a:srcRect t="82950" b="-6306"/>
            <a:stretch/>
          </p:blipFill>
          <p:spPr>
            <a:xfrm>
              <a:off x="6903172" y="12037430"/>
              <a:ext cx="4931975" cy="532060"/>
            </a:xfrm>
            <a:prstGeom prst="rect">
              <a:avLst/>
            </a:prstGeom>
          </p:spPr>
        </p:pic>
      </p:grpSp>
      <p:sp>
        <p:nvSpPr>
          <p:cNvPr id="167" name="Slide Number Placeholder 2">
            <a:extLst>
              <a:ext uri="{FF2B5EF4-FFF2-40B4-BE49-F238E27FC236}">
                <a16:creationId xmlns:a16="http://schemas.microsoft.com/office/drawing/2014/main" id="{B2D93E5F-26F7-1482-8BF3-DEE296B2D173}"/>
              </a:ext>
            </a:extLst>
          </p:cNvPr>
          <p:cNvSpPr>
            <a:spLocks noGrp="1"/>
          </p:cNvSpPr>
          <p:nvPr>
            <p:ph type="sldNum" sz="quarter" idx="10"/>
          </p:nvPr>
        </p:nvSpPr>
        <p:spPr>
          <a:xfrm>
            <a:off x="11596055" y="6520402"/>
            <a:ext cx="235945" cy="123111"/>
          </a:xfrm>
        </p:spPr>
        <p:txBody>
          <a:bodyPr/>
          <a:lstStyle/>
          <a:p>
            <a:fld id="{FC1BBE33-A891-48E8-970C-4A8D55F96D53}" type="slidenum">
              <a:rPr lang="en-AU" smtClean="0"/>
              <a:pPr/>
              <a:t>6</a:t>
            </a:fld>
            <a:endParaRPr lang="en-AU" dirty="0"/>
          </a:p>
        </p:txBody>
      </p:sp>
    </p:spTree>
    <p:extLst>
      <p:ext uri="{BB962C8B-B14F-4D97-AF65-F5344CB8AC3E}">
        <p14:creationId xmlns:p14="http://schemas.microsoft.com/office/powerpoint/2010/main" val="20291800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C219ED7-3FDF-F7C3-DE4E-E84A5BCA425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630217" y="1865292"/>
            <a:ext cx="6360041" cy="4572108"/>
          </a:xfrm>
          <a:prstGeom prst="rect">
            <a:avLst/>
          </a:prstGeom>
          <a:effectLst>
            <a:outerShdw blurRad="50800" dist="38100" dir="8100000" algn="tr" rotWithShape="0">
              <a:prstClr val="black">
                <a:alpha val="40000"/>
              </a:prstClr>
            </a:outerShdw>
          </a:effectLst>
        </p:spPr>
      </p:pic>
      <p:sp>
        <p:nvSpPr>
          <p:cNvPr id="2" name="Title 1">
            <a:extLst>
              <a:ext uri="{FF2B5EF4-FFF2-40B4-BE49-F238E27FC236}">
                <a16:creationId xmlns:a16="http://schemas.microsoft.com/office/drawing/2014/main" id="{2CC47F87-A7D2-4C0C-856B-C5BD45F30522}"/>
              </a:ext>
            </a:extLst>
          </p:cNvPr>
          <p:cNvSpPr>
            <a:spLocks noGrp="1"/>
          </p:cNvSpPr>
          <p:nvPr>
            <p:ph type="title"/>
          </p:nvPr>
        </p:nvSpPr>
        <p:spPr>
          <a:xfrm>
            <a:off x="359999" y="450000"/>
            <a:ext cx="11304000" cy="332399"/>
          </a:xfrm>
        </p:spPr>
        <p:txBody>
          <a:bodyPr/>
          <a:lstStyle/>
          <a:p>
            <a:r>
              <a:rPr lang="en-GB"/>
              <a:t>But the worldwide market is still tight for high-quality credits </a:t>
            </a:r>
            <a:endParaRPr lang="en-SG"/>
          </a:p>
        </p:txBody>
      </p:sp>
      <p:sp>
        <p:nvSpPr>
          <p:cNvPr id="3" name="Text Placeholder 2">
            <a:extLst>
              <a:ext uri="{FF2B5EF4-FFF2-40B4-BE49-F238E27FC236}">
                <a16:creationId xmlns:a16="http://schemas.microsoft.com/office/drawing/2014/main" id="{376E23DC-5A4B-40F6-8656-8647F21C9BF3}"/>
              </a:ext>
            </a:extLst>
          </p:cNvPr>
          <p:cNvSpPr>
            <a:spLocks noGrp="1"/>
          </p:cNvSpPr>
          <p:nvPr>
            <p:ph type="body" sz="quarter" idx="51"/>
          </p:nvPr>
        </p:nvSpPr>
        <p:spPr>
          <a:xfrm>
            <a:off x="359999" y="805904"/>
            <a:ext cx="11160000" cy="217560"/>
          </a:xfrm>
        </p:spPr>
        <p:txBody>
          <a:bodyPr/>
          <a:lstStyle/>
          <a:p>
            <a:r>
              <a:rPr lang="en-US" sz="1400"/>
              <a:t>Greater supply of affordable credits from high-quality projects is needed </a:t>
            </a:r>
            <a:endParaRPr lang="en-SG" sz="1400"/>
          </a:p>
        </p:txBody>
      </p:sp>
      <p:sp>
        <p:nvSpPr>
          <p:cNvPr id="4" name="Text Placeholder 3">
            <a:extLst>
              <a:ext uri="{FF2B5EF4-FFF2-40B4-BE49-F238E27FC236}">
                <a16:creationId xmlns:a16="http://schemas.microsoft.com/office/drawing/2014/main" id="{9C2A5AA5-BC63-41C1-88E6-02DAFDBC41AB}"/>
              </a:ext>
            </a:extLst>
          </p:cNvPr>
          <p:cNvSpPr>
            <a:spLocks noGrp="1"/>
          </p:cNvSpPr>
          <p:nvPr>
            <p:ph type="body" sz="quarter" idx="52"/>
          </p:nvPr>
        </p:nvSpPr>
        <p:spPr>
          <a:xfrm>
            <a:off x="360364" y="6520402"/>
            <a:ext cx="3603712" cy="124329"/>
          </a:xfrm>
        </p:spPr>
        <p:txBody>
          <a:bodyPr/>
          <a:lstStyle/>
          <a:p>
            <a:r>
              <a:rPr lang="en-GB" dirty="0"/>
              <a:t>Sources: BCG/Shell, BNEF and Trove Research</a:t>
            </a:r>
          </a:p>
        </p:txBody>
      </p:sp>
      <p:sp>
        <p:nvSpPr>
          <p:cNvPr id="7" name="TextBox 6">
            <a:extLst>
              <a:ext uri="{FF2B5EF4-FFF2-40B4-BE49-F238E27FC236}">
                <a16:creationId xmlns:a16="http://schemas.microsoft.com/office/drawing/2014/main" id="{1D2B047B-95A3-4226-AC11-5D593EEDB7A6}"/>
              </a:ext>
            </a:extLst>
          </p:cNvPr>
          <p:cNvSpPr txBox="1"/>
          <p:nvPr/>
        </p:nvSpPr>
        <p:spPr>
          <a:xfrm>
            <a:off x="2676181" y="1298181"/>
            <a:ext cx="4535323" cy="430887"/>
          </a:xfrm>
          <a:prstGeom prst="rect">
            <a:avLst/>
          </a:prstGeom>
          <a:noFill/>
        </p:spPr>
        <p:txBody>
          <a:bodyPr wrap="square" lIns="0" tIns="0" rIns="0" bIns="0" rtlCol="0">
            <a:spAutoFit/>
          </a:bodyPr>
          <a:lstStyle/>
          <a:p>
            <a:pPr algn="l"/>
            <a:r>
              <a:rPr lang="en-GB" sz="1600" b="1">
                <a:solidFill>
                  <a:schemeClr val="tx1">
                    <a:lumMod val="75000"/>
                    <a:lumOff val="25000"/>
                  </a:schemeClr>
                </a:solidFill>
              </a:rPr>
              <a:t>Outlook of the voluntary carbon market </a:t>
            </a:r>
          </a:p>
          <a:p>
            <a:pPr algn="l"/>
            <a:r>
              <a:rPr lang="en-GB" sz="1200">
                <a:solidFill>
                  <a:schemeClr val="tx1">
                    <a:lumMod val="75000"/>
                    <a:lumOff val="25000"/>
                  </a:schemeClr>
                </a:solidFill>
              </a:rPr>
              <a:t>“Linked” scenario by BCG/Shell</a:t>
            </a:r>
          </a:p>
        </p:txBody>
      </p:sp>
      <p:sp>
        <p:nvSpPr>
          <p:cNvPr id="8" name="Oval 7">
            <a:extLst>
              <a:ext uri="{FF2B5EF4-FFF2-40B4-BE49-F238E27FC236}">
                <a16:creationId xmlns:a16="http://schemas.microsoft.com/office/drawing/2014/main" id="{D51DD881-792A-4265-8A79-1FD2CE0BBC0E}"/>
              </a:ext>
            </a:extLst>
          </p:cNvPr>
          <p:cNvSpPr/>
          <p:nvPr/>
        </p:nvSpPr>
        <p:spPr>
          <a:xfrm>
            <a:off x="8266439" y="1338920"/>
            <a:ext cx="1379783" cy="12767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600" b="1">
                <a:solidFill>
                  <a:schemeClr val="bg1"/>
                </a:solidFill>
              </a:rPr>
              <a:t>1-1.3 Gt</a:t>
            </a:r>
          </a:p>
          <a:p>
            <a:pPr algn="ctr"/>
            <a:r>
              <a:rPr lang="en-GB" sz="1000">
                <a:solidFill>
                  <a:schemeClr val="bg1"/>
                </a:solidFill>
              </a:rPr>
              <a:t>Estimated demand by 2030 </a:t>
            </a:r>
          </a:p>
        </p:txBody>
      </p:sp>
      <p:sp>
        <p:nvSpPr>
          <p:cNvPr id="9" name="Slide Number Placeholder 2">
            <a:extLst>
              <a:ext uri="{FF2B5EF4-FFF2-40B4-BE49-F238E27FC236}">
                <a16:creationId xmlns:a16="http://schemas.microsoft.com/office/drawing/2014/main" id="{C23B2295-E734-42ED-B8FF-2A02EE323123}"/>
              </a:ext>
            </a:extLst>
          </p:cNvPr>
          <p:cNvSpPr>
            <a:spLocks noGrp="1"/>
          </p:cNvSpPr>
          <p:nvPr>
            <p:ph type="sldNum" sz="quarter" idx="10"/>
          </p:nvPr>
        </p:nvSpPr>
        <p:spPr>
          <a:xfrm>
            <a:off x="11596055" y="6520402"/>
            <a:ext cx="235945" cy="123111"/>
          </a:xfrm>
        </p:spPr>
        <p:txBody>
          <a:bodyPr/>
          <a:lstStyle/>
          <a:p>
            <a:fld id="{FC1BBE33-A891-48E8-970C-4A8D55F96D53}" type="slidenum">
              <a:rPr lang="en-AU" smtClean="0"/>
              <a:pPr/>
              <a:t>7</a:t>
            </a:fld>
            <a:endParaRPr lang="en-AU"/>
          </a:p>
        </p:txBody>
      </p:sp>
    </p:spTree>
    <p:extLst>
      <p:ext uri="{BB962C8B-B14F-4D97-AF65-F5344CB8AC3E}">
        <p14:creationId xmlns:p14="http://schemas.microsoft.com/office/powerpoint/2010/main" val="7168417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080078-CD58-7D4D-88C7-892D8855A0ED}"/>
              </a:ext>
            </a:extLst>
          </p:cNvPr>
          <p:cNvSpPr>
            <a:spLocks noGrp="1"/>
          </p:cNvSpPr>
          <p:nvPr>
            <p:ph type="title"/>
          </p:nvPr>
        </p:nvSpPr>
        <p:spPr/>
        <p:txBody>
          <a:bodyPr/>
          <a:lstStyle/>
          <a:p>
            <a:r>
              <a:rPr lang="en-GB" dirty="0"/>
              <a:t>Convergence of the compliance and voluntary carbon markets </a:t>
            </a:r>
          </a:p>
        </p:txBody>
      </p:sp>
      <p:sp>
        <p:nvSpPr>
          <p:cNvPr id="3" name="Slide Number Placeholder 2">
            <a:extLst>
              <a:ext uri="{FF2B5EF4-FFF2-40B4-BE49-F238E27FC236}">
                <a16:creationId xmlns:a16="http://schemas.microsoft.com/office/drawing/2014/main" id="{6A7DE6C5-C2D4-EA46-8B1F-BA07AD5B8606}"/>
              </a:ext>
            </a:extLst>
          </p:cNvPr>
          <p:cNvSpPr>
            <a:spLocks noGrp="1"/>
          </p:cNvSpPr>
          <p:nvPr>
            <p:ph type="sldNum" sz="quarter" idx="10"/>
          </p:nvPr>
        </p:nvSpPr>
        <p:spPr/>
        <p:txBody>
          <a:bodyPr/>
          <a:lstStyle/>
          <a:p>
            <a:fld id="{FC1BBE33-A891-48E8-970C-4A8D55F96D53}" type="slidenum">
              <a:rPr lang="en-AU" smtClean="0"/>
              <a:pPr/>
              <a:t>8</a:t>
            </a:fld>
            <a:endParaRPr lang="en-AU"/>
          </a:p>
        </p:txBody>
      </p:sp>
      <p:sp>
        <p:nvSpPr>
          <p:cNvPr id="6" name="Text Placeholder 5">
            <a:extLst>
              <a:ext uri="{FF2B5EF4-FFF2-40B4-BE49-F238E27FC236}">
                <a16:creationId xmlns:a16="http://schemas.microsoft.com/office/drawing/2014/main" id="{51591C31-B845-3E4C-A3B1-5E0A01A0E423}"/>
              </a:ext>
            </a:extLst>
          </p:cNvPr>
          <p:cNvSpPr>
            <a:spLocks noGrp="1"/>
          </p:cNvSpPr>
          <p:nvPr>
            <p:ph type="body" sz="quarter" idx="53"/>
          </p:nvPr>
        </p:nvSpPr>
        <p:spPr/>
        <p:txBody>
          <a:bodyPr/>
          <a:lstStyle/>
          <a:p>
            <a:r>
              <a:rPr lang="en-GB" b="1" dirty="0"/>
              <a:t>Image sources: </a:t>
            </a:r>
            <a:r>
              <a:rPr lang="en-GB" dirty="0">
                <a:hlinkClick r:id="rId3">
                  <a:extLst>
                    <a:ext uri="{A12FA001-AC4F-418D-AE19-62706E023703}">
                      <ahyp:hlinkClr xmlns:ahyp="http://schemas.microsoft.com/office/drawing/2018/hyperlinkcolor" val="tx"/>
                    </a:ext>
                  </a:extLst>
                </a:hlinkClick>
              </a:rPr>
              <a:t>Global Engineering </a:t>
            </a:r>
            <a:endParaRPr lang="en-GB" dirty="0"/>
          </a:p>
        </p:txBody>
      </p:sp>
      <p:sp>
        <p:nvSpPr>
          <p:cNvPr id="12" name="TextBox 11">
            <a:extLst>
              <a:ext uri="{FF2B5EF4-FFF2-40B4-BE49-F238E27FC236}">
                <a16:creationId xmlns:a16="http://schemas.microsoft.com/office/drawing/2014/main" id="{0FDAE73D-40C5-9D7B-473C-DAB35C013F3A}"/>
              </a:ext>
            </a:extLst>
          </p:cNvPr>
          <p:cNvSpPr txBox="1">
            <a:spLocks/>
          </p:cNvSpPr>
          <p:nvPr/>
        </p:nvSpPr>
        <p:spPr>
          <a:xfrm>
            <a:off x="595946" y="2250074"/>
            <a:ext cx="4815473" cy="26032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Tx/>
              <a:defRPr/>
            </a:pPr>
            <a:r>
              <a:rPr lang="en-US" sz="2400" b="1">
                <a:latin typeface="Century Gothic" panose="020B0502020202020204" pitchFamily="34" charset="0"/>
              </a:rPr>
              <a:t>Compliance Markets</a:t>
            </a:r>
            <a:endParaRPr lang="en-US" sz="2400">
              <a:solidFill>
                <a:srgbClr val="000000"/>
              </a:solidFill>
              <a:latin typeface="Century Gothic" panose="020B0502020202020204" pitchFamily="34" charset="0"/>
            </a:endParaRPr>
          </a:p>
          <a:p>
            <a:pPr defTabSz="1219170">
              <a:spcBef>
                <a:spcPts val="400"/>
              </a:spcBef>
              <a:spcAft>
                <a:spcPts val="400"/>
              </a:spcAft>
              <a:defRPr/>
            </a:pPr>
            <a:r>
              <a:rPr lang="en-US" sz="1400">
                <a:solidFill>
                  <a:srgbClr val="000000"/>
                </a:solidFill>
                <a:latin typeface="Century Gothic" panose="020B0502020202020204" pitchFamily="34" charset="0"/>
              </a:rPr>
              <a:t>Enable countries and companies to fulfil </a:t>
            </a:r>
            <a:r>
              <a:rPr lang="en-US" sz="1400" b="1">
                <a:solidFill>
                  <a:srgbClr val="000000"/>
                </a:solidFill>
                <a:latin typeface="Century Gothic" panose="020B0502020202020204" pitchFamily="34" charset="0"/>
              </a:rPr>
              <a:t>obligations under the Paris Accord</a:t>
            </a:r>
          </a:p>
          <a:p>
            <a:pPr defTabSz="1219170">
              <a:spcBef>
                <a:spcPts val="400"/>
              </a:spcBef>
              <a:spcAft>
                <a:spcPts val="400"/>
              </a:spcAft>
              <a:defRPr/>
            </a:pPr>
            <a:endParaRPr lang="en-US" sz="1400" b="1">
              <a:solidFill>
                <a:srgbClr val="000000"/>
              </a:solidFill>
              <a:latin typeface="Century Gothic" panose="020B0502020202020204" pitchFamily="34" charset="0"/>
            </a:endParaRPr>
          </a:p>
          <a:p>
            <a:pPr marL="304792" lvl="1" indent="-300559" defTabSz="1219170">
              <a:spcAft>
                <a:spcPts val="400"/>
              </a:spcAft>
              <a:defRPr/>
            </a:pPr>
            <a:r>
              <a:rPr lang="en-US" sz="1400">
                <a:solidFill>
                  <a:srgbClr val="000000"/>
                </a:solidFill>
                <a:latin typeface="Century Gothic" panose="020B0502020202020204" pitchFamily="34" charset="0"/>
              </a:rPr>
              <a:t>For countries, current obligations are driven through the Kyoto Protocol </a:t>
            </a:r>
            <a:br>
              <a:rPr lang="en-US" sz="1400">
                <a:solidFill>
                  <a:srgbClr val="000000"/>
                </a:solidFill>
                <a:latin typeface="Century Gothic" panose="020B0502020202020204" pitchFamily="34" charset="0"/>
              </a:rPr>
            </a:br>
            <a:r>
              <a:rPr lang="en-US" sz="1400">
                <a:solidFill>
                  <a:srgbClr val="000000"/>
                </a:solidFill>
                <a:latin typeface="Century Gothic" panose="020B0502020202020204" pitchFamily="34" charset="0"/>
              </a:rPr>
              <a:t>(e.g. Clean Development Mechanism)</a:t>
            </a:r>
          </a:p>
          <a:p>
            <a:pPr marL="304792" lvl="1" indent="-300559" defTabSz="1219170">
              <a:spcAft>
                <a:spcPts val="400"/>
              </a:spcAft>
              <a:defRPr/>
            </a:pPr>
            <a:r>
              <a:rPr lang="en-US" sz="1400">
                <a:solidFill>
                  <a:srgbClr val="000000"/>
                </a:solidFill>
                <a:latin typeface="Century Gothic" panose="020B0502020202020204" pitchFamily="34" charset="0"/>
              </a:rPr>
              <a:t>For companies, obligations arise through emission trading schemes or national carbon taxes some that allow use of offsets. </a:t>
            </a:r>
          </a:p>
        </p:txBody>
      </p:sp>
      <p:sp>
        <p:nvSpPr>
          <p:cNvPr id="13" name="TextBox 12">
            <a:extLst>
              <a:ext uri="{FF2B5EF4-FFF2-40B4-BE49-F238E27FC236}">
                <a16:creationId xmlns:a16="http://schemas.microsoft.com/office/drawing/2014/main" id="{CBBE2AAD-42B7-D538-5F15-C7E3F8B4BC40}"/>
              </a:ext>
            </a:extLst>
          </p:cNvPr>
          <p:cNvSpPr txBox="1">
            <a:spLocks/>
          </p:cNvSpPr>
          <p:nvPr/>
        </p:nvSpPr>
        <p:spPr>
          <a:xfrm>
            <a:off x="6519321" y="2250074"/>
            <a:ext cx="5076733" cy="270586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Tx/>
              <a:defRPr/>
            </a:pPr>
            <a:r>
              <a:rPr lang="en-US" sz="2400" b="1">
                <a:latin typeface="Century Gothic" panose="020B0502020202020204" pitchFamily="34" charset="0"/>
              </a:rPr>
              <a:t>Voluntary Markets</a:t>
            </a:r>
            <a:endParaRPr lang="en-US" sz="2400">
              <a:latin typeface="Century Gothic" panose="020B0502020202020204" pitchFamily="34" charset="0"/>
            </a:endParaRPr>
          </a:p>
          <a:p>
            <a:pPr defTabSz="1219170">
              <a:spcBef>
                <a:spcPts val="400"/>
              </a:spcBef>
              <a:spcAft>
                <a:spcPts val="400"/>
              </a:spcAft>
              <a:defRPr/>
            </a:pPr>
            <a:r>
              <a:rPr lang="en-US" sz="1400">
                <a:solidFill>
                  <a:srgbClr val="000000"/>
                </a:solidFill>
                <a:latin typeface="Century Gothic" panose="020B0502020202020204" pitchFamily="34" charset="0"/>
              </a:rPr>
              <a:t>Function in parallel to compliance markets and </a:t>
            </a:r>
            <a:r>
              <a:rPr lang="en-US" sz="1400" b="1">
                <a:solidFill>
                  <a:srgbClr val="000000"/>
                </a:solidFill>
                <a:latin typeface="Century Gothic" panose="020B0502020202020204" pitchFamily="34" charset="0"/>
              </a:rPr>
              <a:t>do not fulfil a legal obligation.</a:t>
            </a:r>
          </a:p>
          <a:p>
            <a:pPr defTabSz="1219170">
              <a:spcBef>
                <a:spcPts val="400"/>
              </a:spcBef>
              <a:spcAft>
                <a:spcPts val="400"/>
              </a:spcAft>
              <a:defRPr/>
            </a:pPr>
            <a:r>
              <a:rPr lang="en-US" sz="1400" b="1">
                <a:solidFill>
                  <a:srgbClr val="000000"/>
                </a:solidFill>
                <a:latin typeface="Century Gothic" panose="020B0502020202020204" pitchFamily="34" charset="0"/>
              </a:rPr>
              <a:t>Demand</a:t>
            </a:r>
            <a:r>
              <a:rPr lang="en-US" sz="1400">
                <a:solidFill>
                  <a:srgbClr val="000000"/>
                </a:solidFill>
                <a:latin typeface="Century Gothic" panose="020B0502020202020204" pitchFamily="34" charset="0"/>
              </a:rPr>
              <a:t> for voluntary carbon credits driven by growing </a:t>
            </a:r>
            <a:r>
              <a:rPr lang="en-US" sz="1400" b="1">
                <a:solidFill>
                  <a:srgbClr val="000000"/>
                </a:solidFill>
                <a:latin typeface="Century Gothic" panose="020B0502020202020204" pitchFamily="34" charset="0"/>
              </a:rPr>
              <a:t>voluntary climate action, pledges and stakeholder pressure.</a:t>
            </a:r>
          </a:p>
          <a:p>
            <a:pPr defTabSz="1219170">
              <a:spcBef>
                <a:spcPts val="400"/>
              </a:spcBef>
              <a:spcAft>
                <a:spcPts val="400"/>
              </a:spcAft>
              <a:defRPr/>
            </a:pPr>
            <a:endParaRPr lang="en-US" sz="1400" b="1">
              <a:solidFill>
                <a:srgbClr val="000000"/>
              </a:solidFill>
              <a:latin typeface="Century Gothic" panose="020B0502020202020204" pitchFamily="34" charset="0"/>
            </a:endParaRPr>
          </a:p>
          <a:p>
            <a:pPr marL="304792" lvl="1" indent="-300559" defTabSz="1219170">
              <a:spcAft>
                <a:spcPts val="400"/>
              </a:spcAft>
              <a:defRPr/>
            </a:pPr>
            <a:r>
              <a:rPr lang="en-US" sz="1400">
                <a:solidFill>
                  <a:srgbClr val="000000"/>
                </a:solidFill>
                <a:latin typeface="Century Gothic" panose="020B0502020202020204" pitchFamily="34" charset="0"/>
              </a:rPr>
              <a:t>Companies first reduce emissions as much as possible</a:t>
            </a:r>
          </a:p>
          <a:p>
            <a:pPr marL="304792" lvl="1" indent="-300559" defTabSz="1219170">
              <a:spcAft>
                <a:spcPts val="400"/>
              </a:spcAft>
              <a:defRPr/>
            </a:pPr>
            <a:r>
              <a:rPr lang="en-US" sz="1400">
                <a:solidFill>
                  <a:srgbClr val="000000"/>
                </a:solidFill>
                <a:latin typeface="Century Gothic" panose="020B0502020202020204" pitchFamily="34" charset="0"/>
              </a:rPr>
              <a:t>Companies neutralize the non-abated remainder of their emissions by purchasing voluntary carbon credits</a:t>
            </a:r>
          </a:p>
        </p:txBody>
      </p:sp>
      <p:grpSp>
        <p:nvGrpSpPr>
          <p:cNvPr id="14" name="Group 13">
            <a:extLst>
              <a:ext uri="{FF2B5EF4-FFF2-40B4-BE49-F238E27FC236}">
                <a16:creationId xmlns:a16="http://schemas.microsoft.com/office/drawing/2014/main" id="{6297F33E-C0CD-45A6-21B0-BE8B42930FA5}"/>
              </a:ext>
            </a:extLst>
          </p:cNvPr>
          <p:cNvGrpSpPr/>
          <p:nvPr/>
        </p:nvGrpSpPr>
        <p:grpSpPr>
          <a:xfrm>
            <a:off x="598474" y="1215530"/>
            <a:ext cx="817896" cy="816000"/>
            <a:chOff x="554735" y="1655635"/>
            <a:chExt cx="1124977" cy="1102451"/>
          </a:xfrm>
        </p:grpSpPr>
        <p:sp>
          <p:nvSpPr>
            <p:cNvPr id="15" name="Oval 14">
              <a:extLst>
                <a:ext uri="{FF2B5EF4-FFF2-40B4-BE49-F238E27FC236}">
                  <a16:creationId xmlns:a16="http://schemas.microsoft.com/office/drawing/2014/main" id="{5A16A4ED-C24A-9865-E866-C38E1D4B7ADF}"/>
                </a:ext>
              </a:extLst>
            </p:cNvPr>
            <p:cNvSpPr/>
            <p:nvPr/>
          </p:nvSpPr>
          <p:spPr>
            <a:xfrm>
              <a:off x="554735" y="1655635"/>
              <a:ext cx="1124977" cy="1102451"/>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a:spcBef>
                  <a:spcPts val="400"/>
                </a:spcBef>
                <a:spcAft>
                  <a:spcPts val="400"/>
                </a:spcAft>
                <a:defRPr/>
              </a:pPr>
              <a:endParaRPr lang="en-US" sz="2133" err="1">
                <a:solidFill>
                  <a:srgbClr val="FFFFFF"/>
                </a:solidFill>
                <a:latin typeface="Arial"/>
              </a:endParaRPr>
            </a:p>
          </p:txBody>
        </p:sp>
        <p:pic>
          <p:nvPicPr>
            <p:cNvPr id="16" name="CustomIcon">
              <a:extLst>
                <a:ext uri="{FF2B5EF4-FFF2-40B4-BE49-F238E27FC236}">
                  <a16:creationId xmlns:a16="http://schemas.microsoft.com/office/drawing/2014/main" id="{DF830C74-D3A6-3626-BC2A-BC4C25F5B894}"/>
                </a:ext>
              </a:extLst>
            </p:cNvPr>
            <p:cNvPicPr>
              <a:picLocks noChangeAspect="1"/>
            </p:cNvPicPr>
            <p:nvPr>
              <p:custDataLst>
                <p:tags r:id="rId1"/>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86647" y="1837534"/>
              <a:ext cx="661154" cy="703194"/>
            </a:xfrm>
            <a:prstGeom prst="rect">
              <a:avLst/>
            </a:prstGeom>
          </p:spPr>
        </p:pic>
      </p:grpSp>
      <p:grpSp>
        <p:nvGrpSpPr>
          <p:cNvPr id="17" name="Group 16">
            <a:extLst>
              <a:ext uri="{FF2B5EF4-FFF2-40B4-BE49-F238E27FC236}">
                <a16:creationId xmlns:a16="http://schemas.microsoft.com/office/drawing/2014/main" id="{C2849D03-3E37-30DA-17FF-B6BB3AD93F41}"/>
              </a:ext>
            </a:extLst>
          </p:cNvPr>
          <p:cNvGrpSpPr/>
          <p:nvPr/>
        </p:nvGrpSpPr>
        <p:grpSpPr>
          <a:xfrm>
            <a:off x="6519322" y="1201355"/>
            <a:ext cx="817897" cy="816000"/>
            <a:chOff x="2981328" y="1287017"/>
            <a:chExt cx="613423" cy="612000"/>
          </a:xfrm>
        </p:grpSpPr>
        <p:sp>
          <p:nvSpPr>
            <p:cNvPr id="18" name="Oval 17">
              <a:extLst>
                <a:ext uri="{FF2B5EF4-FFF2-40B4-BE49-F238E27FC236}">
                  <a16:creationId xmlns:a16="http://schemas.microsoft.com/office/drawing/2014/main" id="{39D75002-E48A-C203-0100-13A6D811FB59}"/>
                </a:ext>
              </a:extLst>
            </p:cNvPr>
            <p:cNvSpPr/>
            <p:nvPr/>
          </p:nvSpPr>
          <p:spPr>
            <a:xfrm>
              <a:off x="2981328" y="1287017"/>
              <a:ext cx="613423" cy="6120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a:spcBef>
                  <a:spcPts val="400"/>
                </a:spcBef>
                <a:spcAft>
                  <a:spcPts val="400"/>
                </a:spcAft>
                <a:defRPr/>
              </a:pPr>
              <a:endParaRPr lang="en-US" sz="2133" err="1">
                <a:solidFill>
                  <a:srgbClr val="FFFFFF"/>
                </a:solidFill>
                <a:latin typeface="Arial"/>
              </a:endParaRPr>
            </a:p>
          </p:txBody>
        </p:sp>
        <p:grpSp>
          <p:nvGrpSpPr>
            <p:cNvPr id="19" name="Group 18">
              <a:extLst>
                <a:ext uri="{FF2B5EF4-FFF2-40B4-BE49-F238E27FC236}">
                  <a16:creationId xmlns:a16="http://schemas.microsoft.com/office/drawing/2014/main" id="{169E7BE9-9D67-0760-88D1-882E49D1EE4A}"/>
                </a:ext>
              </a:extLst>
            </p:cNvPr>
            <p:cNvGrpSpPr/>
            <p:nvPr/>
          </p:nvGrpSpPr>
          <p:grpSpPr>
            <a:xfrm>
              <a:off x="3211823" y="1403451"/>
              <a:ext cx="155517" cy="333297"/>
              <a:chOff x="300190" y="2918350"/>
              <a:chExt cx="539027" cy="943298"/>
            </a:xfrm>
            <a:solidFill>
              <a:schemeClr val="bg1"/>
            </a:solidFill>
          </p:grpSpPr>
          <p:sp>
            <p:nvSpPr>
              <p:cNvPr id="20" name="Freeform: Shape 23">
                <a:extLst>
                  <a:ext uri="{FF2B5EF4-FFF2-40B4-BE49-F238E27FC236}">
                    <a16:creationId xmlns:a16="http://schemas.microsoft.com/office/drawing/2014/main" id="{36E4B906-660D-E6DF-3C96-388614208AE5}"/>
                  </a:ext>
                </a:extLst>
              </p:cNvPr>
              <p:cNvSpPr/>
              <p:nvPr/>
            </p:nvSpPr>
            <p:spPr>
              <a:xfrm>
                <a:off x="696959" y="3674515"/>
                <a:ext cx="22459" cy="179676"/>
              </a:xfrm>
              <a:custGeom>
                <a:avLst/>
                <a:gdLst>
                  <a:gd name="connsiteX0" fmla="*/ 20214 w 0"/>
                  <a:gd name="connsiteY0" fmla="*/ 185964 h 179675"/>
                  <a:gd name="connsiteX1" fmla="*/ 20214 w 0"/>
                  <a:gd name="connsiteY1" fmla="*/ 10107 h 179675"/>
                  <a:gd name="connsiteX2" fmla="*/ 10107 w 0"/>
                  <a:gd name="connsiteY2" fmla="*/ 0 h 179675"/>
                  <a:gd name="connsiteX3" fmla="*/ 0 w 0"/>
                  <a:gd name="connsiteY3" fmla="*/ 10107 h 179675"/>
                  <a:gd name="connsiteX4" fmla="*/ 0 w 0"/>
                  <a:gd name="connsiteY4" fmla="*/ 185964 h 179675"/>
                  <a:gd name="connsiteX5" fmla="*/ 10107 w 0"/>
                  <a:gd name="connsiteY5" fmla="*/ 196094 h 179675"/>
                  <a:gd name="connsiteX6" fmla="*/ 20214 w 0"/>
                  <a:gd name="connsiteY6" fmla="*/ 185964 h 179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79675">
                    <a:moveTo>
                      <a:pt x="20214" y="185964"/>
                    </a:moveTo>
                    <a:lnTo>
                      <a:pt x="20214" y="10107"/>
                    </a:lnTo>
                    <a:cubicBezTo>
                      <a:pt x="20214" y="4492"/>
                      <a:pt x="15722" y="0"/>
                      <a:pt x="10107" y="0"/>
                    </a:cubicBezTo>
                    <a:cubicBezTo>
                      <a:pt x="4537" y="0"/>
                      <a:pt x="0" y="4492"/>
                      <a:pt x="0" y="10107"/>
                    </a:cubicBezTo>
                    <a:lnTo>
                      <a:pt x="0" y="185964"/>
                    </a:lnTo>
                    <a:cubicBezTo>
                      <a:pt x="0" y="191579"/>
                      <a:pt x="4537" y="196094"/>
                      <a:pt x="10107" y="196094"/>
                    </a:cubicBezTo>
                    <a:cubicBezTo>
                      <a:pt x="15722" y="196049"/>
                      <a:pt x="20214" y="191534"/>
                      <a:pt x="20214" y="185964"/>
                    </a:cubicBezTo>
                    <a:close/>
                  </a:path>
                </a:pathLst>
              </a:custGeom>
              <a:grpFill/>
              <a:ln w="22423" cap="flat">
                <a:noFill/>
                <a:prstDash val="solid"/>
                <a:miter/>
              </a:ln>
            </p:spPr>
            <p:txBody>
              <a:bodyPr rtlCol="0" anchor="ctr"/>
              <a:lstStyle/>
              <a:p>
                <a:pPr defTabSz="1219170">
                  <a:defRPr/>
                </a:pPr>
                <a:endParaRPr lang="en-US" sz="1867" kern="0">
                  <a:solidFill>
                    <a:srgbClr val="000000"/>
                  </a:solidFill>
                  <a:latin typeface="Arial"/>
                </a:endParaRPr>
              </a:p>
            </p:txBody>
          </p:sp>
          <p:sp>
            <p:nvSpPr>
              <p:cNvPr id="21" name="Freeform: Shape 24">
                <a:extLst>
                  <a:ext uri="{FF2B5EF4-FFF2-40B4-BE49-F238E27FC236}">
                    <a16:creationId xmlns:a16="http://schemas.microsoft.com/office/drawing/2014/main" id="{3E94711A-6FE1-6ABD-0DBF-9DBD0ABC6BFC}"/>
                  </a:ext>
                </a:extLst>
              </p:cNvPr>
              <p:cNvSpPr/>
              <p:nvPr/>
            </p:nvSpPr>
            <p:spPr>
              <a:xfrm>
                <a:off x="456777" y="3201653"/>
                <a:ext cx="269514" cy="269514"/>
              </a:xfrm>
              <a:custGeom>
                <a:avLst/>
                <a:gdLst>
                  <a:gd name="connsiteX0" fmla="*/ 138418 w 269513"/>
                  <a:gd name="connsiteY0" fmla="*/ 276880 h 269513"/>
                  <a:gd name="connsiteX1" fmla="*/ 276903 w 269513"/>
                  <a:gd name="connsiteY1" fmla="*/ 138418 h 269513"/>
                  <a:gd name="connsiteX2" fmla="*/ 138418 w 269513"/>
                  <a:gd name="connsiteY2" fmla="*/ 0 h 269513"/>
                  <a:gd name="connsiteX3" fmla="*/ 0 w 269513"/>
                  <a:gd name="connsiteY3" fmla="*/ 138418 h 269513"/>
                  <a:gd name="connsiteX4" fmla="*/ 138418 w 269513"/>
                  <a:gd name="connsiteY4" fmla="*/ 276880 h 269513"/>
                  <a:gd name="connsiteX5" fmla="*/ 138418 w 269513"/>
                  <a:gd name="connsiteY5" fmla="*/ 20191 h 269513"/>
                  <a:gd name="connsiteX6" fmla="*/ 256689 w 269513"/>
                  <a:gd name="connsiteY6" fmla="*/ 138395 h 269513"/>
                  <a:gd name="connsiteX7" fmla="*/ 138418 w 269513"/>
                  <a:gd name="connsiteY7" fmla="*/ 256599 h 269513"/>
                  <a:gd name="connsiteX8" fmla="*/ 20214 w 269513"/>
                  <a:gd name="connsiteY8" fmla="*/ 138395 h 269513"/>
                  <a:gd name="connsiteX9" fmla="*/ 138418 w 269513"/>
                  <a:gd name="connsiteY9" fmla="*/ 20191 h 26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513" h="269513">
                    <a:moveTo>
                      <a:pt x="138418" y="276880"/>
                    </a:moveTo>
                    <a:cubicBezTo>
                      <a:pt x="214757" y="276880"/>
                      <a:pt x="276903" y="214757"/>
                      <a:pt x="276903" y="138418"/>
                    </a:cubicBezTo>
                    <a:cubicBezTo>
                      <a:pt x="276903" y="62100"/>
                      <a:pt x="214780" y="0"/>
                      <a:pt x="138418" y="0"/>
                    </a:cubicBezTo>
                    <a:cubicBezTo>
                      <a:pt x="62123" y="0"/>
                      <a:pt x="0" y="62100"/>
                      <a:pt x="0" y="138418"/>
                    </a:cubicBezTo>
                    <a:cubicBezTo>
                      <a:pt x="0" y="214780"/>
                      <a:pt x="62100" y="276880"/>
                      <a:pt x="138418" y="276880"/>
                    </a:cubicBezTo>
                    <a:close/>
                    <a:moveTo>
                      <a:pt x="138418" y="20191"/>
                    </a:moveTo>
                    <a:cubicBezTo>
                      <a:pt x="203595" y="20191"/>
                      <a:pt x="256689" y="73218"/>
                      <a:pt x="256689" y="138395"/>
                    </a:cubicBezTo>
                    <a:cubicBezTo>
                      <a:pt x="256689" y="203595"/>
                      <a:pt x="203640" y="256599"/>
                      <a:pt x="138418" y="256599"/>
                    </a:cubicBezTo>
                    <a:cubicBezTo>
                      <a:pt x="73240" y="256599"/>
                      <a:pt x="20214" y="203595"/>
                      <a:pt x="20214" y="138395"/>
                    </a:cubicBezTo>
                    <a:cubicBezTo>
                      <a:pt x="20214" y="73263"/>
                      <a:pt x="73218" y="20191"/>
                      <a:pt x="138418" y="20191"/>
                    </a:cubicBezTo>
                    <a:close/>
                  </a:path>
                </a:pathLst>
              </a:custGeom>
              <a:grpFill/>
              <a:ln w="22423" cap="flat">
                <a:noFill/>
                <a:prstDash val="solid"/>
                <a:miter/>
              </a:ln>
            </p:spPr>
            <p:txBody>
              <a:bodyPr rtlCol="0" anchor="ctr"/>
              <a:lstStyle/>
              <a:p>
                <a:pPr defTabSz="1219170">
                  <a:defRPr/>
                </a:pPr>
                <a:endParaRPr lang="en-US" sz="1867" kern="0">
                  <a:solidFill>
                    <a:srgbClr val="000000"/>
                  </a:solidFill>
                  <a:latin typeface="Arial"/>
                </a:endParaRPr>
              </a:p>
            </p:txBody>
          </p:sp>
          <p:sp>
            <p:nvSpPr>
              <p:cNvPr id="22" name="Freeform: Shape 25">
                <a:extLst>
                  <a:ext uri="{FF2B5EF4-FFF2-40B4-BE49-F238E27FC236}">
                    <a16:creationId xmlns:a16="http://schemas.microsoft.com/office/drawing/2014/main" id="{14D114A8-D8D7-0D54-9F5F-240B2CE9E160}"/>
                  </a:ext>
                </a:extLst>
              </p:cNvPr>
              <p:cNvSpPr/>
              <p:nvPr/>
            </p:nvSpPr>
            <p:spPr>
              <a:xfrm>
                <a:off x="300190" y="2918350"/>
                <a:ext cx="539027" cy="943298"/>
              </a:xfrm>
              <a:custGeom>
                <a:avLst/>
                <a:gdLst>
                  <a:gd name="connsiteX0" fmla="*/ 427448 w 539027"/>
                  <a:gd name="connsiteY0" fmla="*/ 570897 h 943297"/>
                  <a:gd name="connsiteX1" fmla="*/ 295005 w 539027"/>
                  <a:gd name="connsiteY1" fmla="*/ 570897 h 943297"/>
                  <a:gd name="connsiteX2" fmla="*/ 145852 w 539027"/>
                  <a:gd name="connsiteY2" fmla="*/ 421721 h 943297"/>
                  <a:gd name="connsiteX3" fmla="*/ 145852 w 539027"/>
                  <a:gd name="connsiteY3" fmla="*/ 72926 h 943297"/>
                  <a:gd name="connsiteX4" fmla="*/ 72926 w 539027"/>
                  <a:gd name="connsiteY4" fmla="*/ 0 h 943297"/>
                  <a:gd name="connsiteX5" fmla="*/ 0 w 539027"/>
                  <a:gd name="connsiteY5" fmla="*/ 72926 h 943297"/>
                  <a:gd name="connsiteX6" fmla="*/ 0 w 539027"/>
                  <a:gd name="connsiteY6" fmla="*/ 421699 h 943297"/>
                  <a:gd name="connsiteX7" fmla="*/ 30365 w 539027"/>
                  <a:gd name="connsiteY7" fmla="*/ 552009 h 943297"/>
                  <a:gd name="connsiteX8" fmla="*/ 44627 w 539027"/>
                  <a:gd name="connsiteY8" fmla="*/ 613211 h 943297"/>
                  <a:gd name="connsiteX9" fmla="*/ 44627 w 539027"/>
                  <a:gd name="connsiteY9" fmla="*/ 942130 h 943297"/>
                  <a:gd name="connsiteX10" fmla="*/ 54734 w 539027"/>
                  <a:gd name="connsiteY10" fmla="*/ 952214 h 943297"/>
                  <a:gd name="connsiteX11" fmla="*/ 64840 w 539027"/>
                  <a:gd name="connsiteY11" fmla="*/ 942130 h 943297"/>
                  <a:gd name="connsiteX12" fmla="*/ 64840 w 539027"/>
                  <a:gd name="connsiteY12" fmla="*/ 613233 h 943297"/>
                  <a:gd name="connsiteX13" fmla="*/ 48490 w 539027"/>
                  <a:gd name="connsiteY13" fmla="*/ 543115 h 943297"/>
                  <a:gd name="connsiteX14" fmla="*/ 20214 w 539027"/>
                  <a:gd name="connsiteY14" fmla="*/ 421721 h 943297"/>
                  <a:gd name="connsiteX15" fmla="*/ 20214 w 539027"/>
                  <a:gd name="connsiteY15" fmla="*/ 72926 h 943297"/>
                  <a:gd name="connsiteX16" fmla="*/ 72926 w 539027"/>
                  <a:gd name="connsiteY16" fmla="*/ 20214 h 943297"/>
                  <a:gd name="connsiteX17" fmla="*/ 125638 w 539027"/>
                  <a:gd name="connsiteY17" fmla="*/ 72926 h 943297"/>
                  <a:gd name="connsiteX18" fmla="*/ 125638 w 539027"/>
                  <a:gd name="connsiteY18" fmla="*/ 421699 h 943297"/>
                  <a:gd name="connsiteX19" fmla="*/ 295005 w 539027"/>
                  <a:gd name="connsiteY19" fmla="*/ 591088 h 943297"/>
                  <a:gd name="connsiteX20" fmla="*/ 427448 w 539027"/>
                  <a:gd name="connsiteY20" fmla="*/ 591088 h 943297"/>
                  <a:gd name="connsiteX21" fmla="*/ 522407 w 539027"/>
                  <a:gd name="connsiteY21" fmla="*/ 686069 h 943297"/>
                  <a:gd name="connsiteX22" fmla="*/ 522407 w 539027"/>
                  <a:gd name="connsiteY22" fmla="*/ 942107 h 943297"/>
                  <a:gd name="connsiteX23" fmla="*/ 532514 w 539027"/>
                  <a:gd name="connsiteY23" fmla="*/ 952237 h 943297"/>
                  <a:gd name="connsiteX24" fmla="*/ 542621 w 539027"/>
                  <a:gd name="connsiteY24" fmla="*/ 942107 h 943297"/>
                  <a:gd name="connsiteX25" fmla="*/ 542621 w 539027"/>
                  <a:gd name="connsiteY25" fmla="*/ 686069 h 943297"/>
                  <a:gd name="connsiteX26" fmla="*/ 427448 w 539027"/>
                  <a:gd name="connsiteY26" fmla="*/ 570897 h 943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39027" h="943297">
                    <a:moveTo>
                      <a:pt x="427448" y="570897"/>
                    </a:moveTo>
                    <a:lnTo>
                      <a:pt x="295005" y="570897"/>
                    </a:lnTo>
                    <a:cubicBezTo>
                      <a:pt x="212758" y="570897"/>
                      <a:pt x="145852" y="503990"/>
                      <a:pt x="145852" y="421721"/>
                    </a:cubicBezTo>
                    <a:lnTo>
                      <a:pt x="145852" y="72926"/>
                    </a:lnTo>
                    <a:cubicBezTo>
                      <a:pt x="145852" y="32701"/>
                      <a:pt x="113151" y="0"/>
                      <a:pt x="72926" y="0"/>
                    </a:cubicBezTo>
                    <a:cubicBezTo>
                      <a:pt x="32723" y="0"/>
                      <a:pt x="0" y="32701"/>
                      <a:pt x="0" y="72926"/>
                    </a:cubicBezTo>
                    <a:lnTo>
                      <a:pt x="0" y="421699"/>
                    </a:lnTo>
                    <a:cubicBezTo>
                      <a:pt x="0" y="466618"/>
                      <a:pt x="10489" y="511694"/>
                      <a:pt x="30365" y="552009"/>
                    </a:cubicBezTo>
                    <a:cubicBezTo>
                      <a:pt x="39686" y="570942"/>
                      <a:pt x="44627" y="592099"/>
                      <a:pt x="44627" y="613211"/>
                    </a:cubicBezTo>
                    <a:lnTo>
                      <a:pt x="44627" y="942130"/>
                    </a:lnTo>
                    <a:cubicBezTo>
                      <a:pt x="44627" y="947700"/>
                      <a:pt x="49119" y="952214"/>
                      <a:pt x="54734" y="952214"/>
                    </a:cubicBezTo>
                    <a:cubicBezTo>
                      <a:pt x="60304" y="952214"/>
                      <a:pt x="64840" y="947700"/>
                      <a:pt x="64840" y="942130"/>
                    </a:cubicBezTo>
                    <a:lnTo>
                      <a:pt x="64840" y="613233"/>
                    </a:lnTo>
                    <a:cubicBezTo>
                      <a:pt x="64840" y="589044"/>
                      <a:pt x="59203" y="564811"/>
                      <a:pt x="48490" y="543115"/>
                    </a:cubicBezTo>
                    <a:cubicBezTo>
                      <a:pt x="30006" y="505563"/>
                      <a:pt x="20214" y="463563"/>
                      <a:pt x="20214" y="421721"/>
                    </a:cubicBezTo>
                    <a:lnTo>
                      <a:pt x="20214" y="72926"/>
                    </a:lnTo>
                    <a:cubicBezTo>
                      <a:pt x="20214" y="43863"/>
                      <a:pt x="43863" y="20214"/>
                      <a:pt x="72926" y="20214"/>
                    </a:cubicBezTo>
                    <a:cubicBezTo>
                      <a:pt x="101988" y="20214"/>
                      <a:pt x="125638" y="43863"/>
                      <a:pt x="125638" y="72926"/>
                    </a:cubicBezTo>
                    <a:lnTo>
                      <a:pt x="125638" y="421699"/>
                    </a:lnTo>
                    <a:cubicBezTo>
                      <a:pt x="125638" y="515108"/>
                      <a:pt x="201641" y="591088"/>
                      <a:pt x="295005" y="591088"/>
                    </a:cubicBezTo>
                    <a:lnTo>
                      <a:pt x="427448" y="591088"/>
                    </a:lnTo>
                    <a:cubicBezTo>
                      <a:pt x="479801" y="591088"/>
                      <a:pt x="522407" y="633671"/>
                      <a:pt x="522407" y="686069"/>
                    </a:cubicBezTo>
                    <a:lnTo>
                      <a:pt x="522407" y="942107"/>
                    </a:lnTo>
                    <a:cubicBezTo>
                      <a:pt x="522407" y="947722"/>
                      <a:pt x="526966" y="952237"/>
                      <a:pt x="532514" y="952237"/>
                    </a:cubicBezTo>
                    <a:cubicBezTo>
                      <a:pt x="538129" y="952237"/>
                      <a:pt x="542621" y="947722"/>
                      <a:pt x="542621" y="942107"/>
                    </a:cubicBezTo>
                    <a:lnTo>
                      <a:pt x="542621" y="686069"/>
                    </a:lnTo>
                    <a:cubicBezTo>
                      <a:pt x="542598" y="622576"/>
                      <a:pt x="490941" y="570897"/>
                      <a:pt x="427448" y="570897"/>
                    </a:cubicBezTo>
                    <a:close/>
                  </a:path>
                </a:pathLst>
              </a:custGeom>
              <a:grpFill/>
              <a:ln w="22423" cap="flat">
                <a:noFill/>
                <a:prstDash val="solid"/>
                <a:miter/>
              </a:ln>
            </p:spPr>
            <p:txBody>
              <a:bodyPr rtlCol="0" anchor="ctr"/>
              <a:lstStyle/>
              <a:p>
                <a:pPr defTabSz="1219170">
                  <a:defRPr/>
                </a:pPr>
                <a:endParaRPr lang="en-US" sz="1867" kern="0">
                  <a:solidFill>
                    <a:srgbClr val="000000"/>
                  </a:solidFill>
                  <a:latin typeface="Arial"/>
                </a:endParaRPr>
              </a:p>
            </p:txBody>
          </p:sp>
        </p:grpSp>
      </p:grpSp>
      <p:sp>
        <p:nvSpPr>
          <p:cNvPr id="23" name="Rectangle: Rounded Corners 11">
            <a:extLst>
              <a:ext uri="{FF2B5EF4-FFF2-40B4-BE49-F238E27FC236}">
                <a16:creationId xmlns:a16="http://schemas.microsoft.com/office/drawing/2014/main" id="{A2D2988D-3AB8-1473-9F69-94D3A7D71184}"/>
              </a:ext>
            </a:extLst>
          </p:cNvPr>
          <p:cNvSpPr/>
          <p:nvPr/>
        </p:nvSpPr>
        <p:spPr>
          <a:xfrm>
            <a:off x="595947" y="5407150"/>
            <a:ext cx="1682264" cy="233179"/>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tx1"/>
                </a:solidFill>
              </a:rPr>
              <a:t>Example markets</a:t>
            </a:r>
            <a:endParaRPr lang="en-SG" sz="1050" b="1">
              <a:solidFill>
                <a:schemeClr val="tx1"/>
              </a:solidFill>
            </a:endParaRPr>
          </a:p>
        </p:txBody>
      </p:sp>
      <p:sp>
        <p:nvSpPr>
          <p:cNvPr id="24" name="Rectangle: Rounded Corners 11">
            <a:extLst>
              <a:ext uri="{FF2B5EF4-FFF2-40B4-BE49-F238E27FC236}">
                <a16:creationId xmlns:a16="http://schemas.microsoft.com/office/drawing/2014/main" id="{2338651E-A6B2-9758-9C50-5C4FEF22E3A3}"/>
              </a:ext>
            </a:extLst>
          </p:cNvPr>
          <p:cNvSpPr/>
          <p:nvPr/>
        </p:nvSpPr>
        <p:spPr>
          <a:xfrm>
            <a:off x="6434796" y="5407150"/>
            <a:ext cx="1682264" cy="233179"/>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tx1"/>
                </a:solidFill>
              </a:rPr>
              <a:t>Example standards</a:t>
            </a:r>
            <a:endParaRPr lang="en-SG" sz="1050" b="1">
              <a:solidFill>
                <a:schemeClr val="tx1"/>
              </a:solidFill>
            </a:endParaRPr>
          </a:p>
        </p:txBody>
      </p:sp>
      <p:pic>
        <p:nvPicPr>
          <p:cNvPr id="25" name="Picture 2" descr="Verified Carbon Standard - Verra">
            <a:extLst>
              <a:ext uri="{FF2B5EF4-FFF2-40B4-BE49-F238E27FC236}">
                <a16:creationId xmlns:a16="http://schemas.microsoft.com/office/drawing/2014/main" id="{D1CA3BF8-0F31-F58F-BA6F-662798DC8AF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28872" y="5842724"/>
            <a:ext cx="720578" cy="320732"/>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4" descr="Projects – Gold Standard Marketplace">
            <a:extLst>
              <a:ext uri="{FF2B5EF4-FFF2-40B4-BE49-F238E27FC236}">
                <a16:creationId xmlns:a16="http://schemas.microsoft.com/office/drawing/2014/main" id="{12F74960-1225-F9FE-F521-4897E9A6823A}"/>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27419" b="25404"/>
          <a:stretch/>
        </p:blipFill>
        <p:spPr bwMode="auto">
          <a:xfrm>
            <a:off x="7322369" y="5863850"/>
            <a:ext cx="1133206" cy="278482"/>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6" descr="Climate Action Reserve - Carbon Offset Guide">
            <a:extLst>
              <a:ext uri="{FF2B5EF4-FFF2-40B4-BE49-F238E27FC236}">
                <a16:creationId xmlns:a16="http://schemas.microsoft.com/office/drawing/2014/main" id="{6D8E5B7A-A992-77B5-AD0D-2A93C059CB9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591980" y="5842724"/>
            <a:ext cx="919596" cy="346382"/>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8" descr="Plan Vivo — Transforming agricultural innovation for people, nature and  climate">
            <a:extLst>
              <a:ext uri="{FF2B5EF4-FFF2-40B4-BE49-F238E27FC236}">
                <a16:creationId xmlns:a16="http://schemas.microsoft.com/office/drawing/2014/main" id="{395ACCDD-5428-FAD5-7713-DB227DF36ED0}"/>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8771" t="19372" r="9749" b="19665"/>
          <a:stretch/>
        </p:blipFill>
        <p:spPr bwMode="auto">
          <a:xfrm>
            <a:off x="9626686" y="5783156"/>
            <a:ext cx="1157472" cy="433011"/>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0" descr="Puro.earth Launches the Pre-CORC Framework to Unlock Carbon Removal Scaling  | Business Wire">
            <a:extLst>
              <a:ext uri="{FF2B5EF4-FFF2-40B4-BE49-F238E27FC236}">
                <a16:creationId xmlns:a16="http://schemas.microsoft.com/office/drawing/2014/main" id="{E2169464-8786-E41B-6EC6-D489933D9C04}"/>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6650" t="21130" r="25817" b="18492"/>
          <a:stretch/>
        </p:blipFill>
        <p:spPr bwMode="auto">
          <a:xfrm>
            <a:off x="10920828" y="5812940"/>
            <a:ext cx="675226" cy="428848"/>
          </a:xfrm>
          <a:prstGeom prst="rect">
            <a:avLst/>
          </a:prstGeom>
          <a:noFill/>
          <a:extLst>
            <a:ext uri="{909E8E84-426E-40DD-AFC4-6F175D3DCCD1}">
              <a14:hiddenFill xmlns:a14="http://schemas.microsoft.com/office/drawing/2010/main">
                <a:solidFill>
                  <a:srgbClr val="FFFFFF"/>
                </a:solidFill>
              </a14:hiddenFill>
            </a:ext>
          </a:extLst>
        </p:spPr>
      </p:pic>
      <p:sp>
        <p:nvSpPr>
          <p:cNvPr id="32" name="TextBox 31">
            <a:extLst>
              <a:ext uri="{FF2B5EF4-FFF2-40B4-BE49-F238E27FC236}">
                <a16:creationId xmlns:a16="http://schemas.microsoft.com/office/drawing/2014/main" id="{481E656E-7061-1A0F-C770-914FDB1EF40D}"/>
              </a:ext>
            </a:extLst>
          </p:cNvPr>
          <p:cNvSpPr txBox="1"/>
          <p:nvPr/>
        </p:nvSpPr>
        <p:spPr>
          <a:xfrm>
            <a:off x="595946" y="5842724"/>
            <a:ext cx="720579" cy="246221"/>
          </a:xfrm>
          <a:prstGeom prst="rect">
            <a:avLst/>
          </a:prstGeom>
          <a:noFill/>
        </p:spPr>
        <p:txBody>
          <a:bodyPr wrap="square" lIns="0" tIns="0" rIns="0" bIns="0" rtlCol="0">
            <a:spAutoFit/>
          </a:bodyPr>
          <a:lstStyle/>
          <a:p>
            <a:pPr algn="l"/>
            <a:r>
              <a:rPr lang="en-GB" sz="1600" b="1">
                <a:solidFill>
                  <a:schemeClr val="accent5"/>
                </a:solidFill>
              </a:rPr>
              <a:t>EU ETS</a:t>
            </a:r>
          </a:p>
        </p:txBody>
      </p:sp>
      <p:sp>
        <p:nvSpPr>
          <p:cNvPr id="33" name="TextBox 32">
            <a:extLst>
              <a:ext uri="{FF2B5EF4-FFF2-40B4-BE49-F238E27FC236}">
                <a16:creationId xmlns:a16="http://schemas.microsoft.com/office/drawing/2014/main" id="{AED3DB6D-BF93-3FBC-F5CD-FB68FFD7AF57}"/>
              </a:ext>
            </a:extLst>
          </p:cNvPr>
          <p:cNvSpPr txBox="1"/>
          <p:nvPr/>
        </p:nvSpPr>
        <p:spPr>
          <a:xfrm>
            <a:off x="1440772" y="5842724"/>
            <a:ext cx="1318283" cy="246221"/>
          </a:xfrm>
          <a:prstGeom prst="rect">
            <a:avLst/>
          </a:prstGeom>
          <a:noFill/>
        </p:spPr>
        <p:txBody>
          <a:bodyPr wrap="square" lIns="0" tIns="0" rIns="0" bIns="0" rtlCol="0">
            <a:spAutoFit/>
          </a:bodyPr>
          <a:lstStyle/>
          <a:p>
            <a:pPr algn="l"/>
            <a:r>
              <a:rPr lang="en-GB" sz="1600" b="1">
                <a:solidFill>
                  <a:schemeClr val="accent5"/>
                </a:solidFill>
              </a:rPr>
              <a:t>California ETS</a:t>
            </a:r>
          </a:p>
        </p:txBody>
      </p:sp>
      <p:sp>
        <p:nvSpPr>
          <p:cNvPr id="34" name="TextBox 33">
            <a:extLst>
              <a:ext uri="{FF2B5EF4-FFF2-40B4-BE49-F238E27FC236}">
                <a16:creationId xmlns:a16="http://schemas.microsoft.com/office/drawing/2014/main" id="{8C26802B-07AB-4596-0367-170373FBD8C2}"/>
              </a:ext>
            </a:extLst>
          </p:cNvPr>
          <p:cNvSpPr txBox="1"/>
          <p:nvPr/>
        </p:nvSpPr>
        <p:spPr>
          <a:xfrm>
            <a:off x="3031033" y="5842724"/>
            <a:ext cx="1318283" cy="246221"/>
          </a:xfrm>
          <a:prstGeom prst="rect">
            <a:avLst/>
          </a:prstGeom>
          <a:noFill/>
        </p:spPr>
        <p:txBody>
          <a:bodyPr wrap="square" lIns="0" tIns="0" rIns="0" bIns="0" rtlCol="0">
            <a:spAutoFit/>
          </a:bodyPr>
          <a:lstStyle/>
          <a:p>
            <a:pPr algn="l"/>
            <a:r>
              <a:rPr lang="en-GB" sz="1600" b="1">
                <a:solidFill>
                  <a:schemeClr val="accent5"/>
                </a:solidFill>
              </a:rPr>
              <a:t>Australia ETS</a:t>
            </a:r>
          </a:p>
        </p:txBody>
      </p:sp>
      <p:sp>
        <p:nvSpPr>
          <p:cNvPr id="35" name="TextBox 34">
            <a:extLst>
              <a:ext uri="{FF2B5EF4-FFF2-40B4-BE49-F238E27FC236}">
                <a16:creationId xmlns:a16="http://schemas.microsoft.com/office/drawing/2014/main" id="{65DE91F2-988E-7111-4B4A-2EC5AA008FD4}"/>
              </a:ext>
            </a:extLst>
          </p:cNvPr>
          <p:cNvSpPr txBox="1"/>
          <p:nvPr/>
        </p:nvSpPr>
        <p:spPr>
          <a:xfrm>
            <a:off x="4571599" y="5842724"/>
            <a:ext cx="976280" cy="246221"/>
          </a:xfrm>
          <a:prstGeom prst="rect">
            <a:avLst/>
          </a:prstGeom>
          <a:noFill/>
        </p:spPr>
        <p:txBody>
          <a:bodyPr wrap="square" lIns="0" tIns="0" rIns="0" bIns="0" rtlCol="0">
            <a:spAutoFit/>
          </a:bodyPr>
          <a:lstStyle/>
          <a:p>
            <a:pPr algn="l"/>
            <a:r>
              <a:rPr lang="en-GB" sz="1600" b="1">
                <a:solidFill>
                  <a:schemeClr val="accent5"/>
                </a:solidFill>
              </a:rPr>
              <a:t>Korea ETS</a:t>
            </a:r>
          </a:p>
        </p:txBody>
      </p:sp>
      <p:cxnSp>
        <p:nvCxnSpPr>
          <p:cNvPr id="36" name="Straight Connector 35">
            <a:extLst>
              <a:ext uri="{FF2B5EF4-FFF2-40B4-BE49-F238E27FC236}">
                <a16:creationId xmlns:a16="http://schemas.microsoft.com/office/drawing/2014/main" id="{2C9C0FE0-9F19-B684-FBCC-84E8E52C05BB}"/>
              </a:ext>
            </a:extLst>
          </p:cNvPr>
          <p:cNvCxnSpPr/>
          <p:nvPr/>
        </p:nvCxnSpPr>
        <p:spPr>
          <a:xfrm>
            <a:off x="5965371" y="1201355"/>
            <a:ext cx="0" cy="5040433"/>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04279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02A60D-2E36-9FD1-54C6-D0F2788CB80C}"/>
              </a:ext>
            </a:extLst>
          </p:cNvPr>
          <p:cNvSpPr>
            <a:spLocks noGrp="1"/>
          </p:cNvSpPr>
          <p:nvPr>
            <p:ph type="title"/>
          </p:nvPr>
        </p:nvSpPr>
        <p:spPr/>
        <p:txBody>
          <a:bodyPr/>
          <a:lstStyle/>
          <a:p>
            <a:r>
              <a:rPr lang="en-GB" dirty="0"/>
              <a:t>Voluntary carbon credits and the Singapore carbon tax</a:t>
            </a:r>
          </a:p>
        </p:txBody>
      </p:sp>
      <p:sp>
        <p:nvSpPr>
          <p:cNvPr id="3" name="Slide Number Placeholder 2">
            <a:extLst>
              <a:ext uri="{FF2B5EF4-FFF2-40B4-BE49-F238E27FC236}">
                <a16:creationId xmlns:a16="http://schemas.microsoft.com/office/drawing/2014/main" id="{211F5F00-36A8-5923-AFB6-9666F545451B}"/>
              </a:ext>
            </a:extLst>
          </p:cNvPr>
          <p:cNvSpPr>
            <a:spLocks noGrp="1"/>
          </p:cNvSpPr>
          <p:nvPr>
            <p:ph type="sldNum" sz="quarter" idx="10"/>
          </p:nvPr>
        </p:nvSpPr>
        <p:spPr/>
        <p:txBody>
          <a:bodyPr/>
          <a:lstStyle/>
          <a:p>
            <a:fld id="{FC1BBE33-A891-48E8-970C-4A8D55F96D53}" type="slidenum">
              <a:rPr lang="en-AU" smtClean="0"/>
              <a:pPr/>
              <a:t>9</a:t>
            </a:fld>
            <a:endParaRPr lang="en-AU"/>
          </a:p>
        </p:txBody>
      </p:sp>
      <p:sp>
        <p:nvSpPr>
          <p:cNvPr id="4" name="Text Placeholder 3">
            <a:extLst>
              <a:ext uri="{FF2B5EF4-FFF2-40B4-BE49-F238E27FC236}">
                <a16:creationId xmlns:a16="http://schemas.microsoft.com/office/drawing/2014/main" id="{779F0ED7-8044-6E1D-E873-3340F7560725}"/>
              </a:ext>
            </a:extLst>
          </p:cNvPr>
          <p:cNvSpPr>
            <a:spLocks noGrp="1"/>
          </p:cNvSpPr>
          <p:nvPr>
            <p:ph type="body" sz="quarter" idx="51"/>
          </p:nvPr>
        </p:nvSpPr>
        <p:spPr/>
        <p:txBody>
          <a:bodyPr/>
          <a:lstStyle/>
          <a:p>
            <a:endParaRPr lang="en-GB"/>
          </a:p>
        </p:txBody>
      </p:sp>
      <p:sp>
        <p:nvSpPr>
          <p:cNvPr id="5" name="Text Placeholder 4">
            <a:extLst>
              <a:ext uri="{FF2B5EF4-FFF2-40B4-BE49-F238E27FC236}">
                <a16:creationId xmlns:a16="http://schemas.microsoft.com/office/drawing/2014/main" id="{A619AED5-3043-547F-1059-059C8EE64848}"/>
              </a:ext>
            </a:extLst>
          </p:cNvPr>
          <p:cNvSpPr>
            <a:spLocks noGrp="1"/>
          </p:cNvSpPr>
          <p:nvPr>
            <p:ph type="body" sz="quarter" idx="52"/>
          </p:nvPr>
        </p:nvSpPr>
        <p:spPr/>
        <p:txBody>
          <a:bodyPr/>
          <a:lstStyle/>
          <a:p>
            <a:endParaRPr lang="en-GB"/>
          </a:p>
        </p:txBody>
      </p:sp>
      <p:sp>
        <p:nvSpPr>
          <p:cNvPr id="6" name="Rounded Rectangle 5">
            <a:extLst>
              <a:ext uri="{FF2B5EF4-FFF2-40B4-BE49-F238E27FC236}">
                <a16:creationId xmlns:a16="http://schemas.microsoft.com/office/drawing/2014/main" id="{2E79838F-9B29-15D9-0012-4BD6AFC12F16}"/>
              </a:ext>
            </a:extLst>
          </p:cNvPr>
          <p:cNvSpPr/>
          <p:nvPr/>
        </p:nvSpPr>
        <p:spPr>
          <a:xfrm>
            <a:off x="-128833" y="1844477"/>
            <a:ext cx="2741404" cy="3765293"/>
          </a:xfrm>
          <a:prstGeom prst="roundRect">
            <a:avLst>
              <a:gd name="adj" fmla="val 2348"/>
            </a:avLst>
          </a:prstGeom>
          <a:solidFill>
            <a:schemeClr val="bg1">
              <a:lumMod val="95000"/>
              <a:alpha val="57000"/>
            </a:schemeClr>
          </a:solidFill>
          <a:ln w="25400" cap="flat" cmpd="sng" algn="ctr">
            <a:noFill/>
            <a:prstDash val="solid"/>
            <a:miter lim="800000"/>
          </a:ln>
          <a:effectLst/>
        </p:spPr>
        <p:txBody>
          <a:bodyPr lIns="540000" tIns="180000" rIns="180000" bIns="180000" rtlCol="0" anchor="t"/>
          <a:lstStyle/>
          <a:p>
            <a:pPr>
              <a:lnSpc>
                <a:spcPct val="110000"/>
              </a:lnSpc>
              <a:buClrTx/>
            </a:pPr>
            <a:endParaRPr lang="en-AU" sz="1400" b="1">
              <a:solidFill>
                <a:srgbClr val="0070C0"/>
              </a:solidFill>
              <a:latin typeface="Century Gothic" panose="020B0502020202020204" pitchFamily="34" charset="0"/>
              <a:ea typeface="Century Gothic"/>
              <a:cs typeface="Century Gothic"/>
              <a:sym typeface="Century Gothic"/>
            </a:endParaRPr>
          </a:p>
          <a:p>
            <a:pPr>
              <a:lnSpc>
                <a:spcPct val="110000"/>
              </a:lnSpc>
              <a:buClrTx/>
            </a:pPr>
            <a:endParaRPr lang="en-AU" sz="1400" b="1">
              <a:solidFill>
                <a:srgbClr val="0070C0"/>
              </a:solidFill>
              <a:latin typeface="Century Gothic" panose="020B0502020202020204" pitchFamily="34" charset="0"/>
              <a:ea typeface="Century Gothic"/>
              <a:cs typeface="Century Gothic"/>
              <a:sym typeface="Century Gothic"/>
            </a:endParaRPr>
          </a:p>
          <a:p>
            <a:pPr>
              <a:lnSpc>
                <a:spcPct val="110000"/>
              </a:lnSpc>
              <a:buClrTx/>
            </a:pPr>
            <a:endParaRPr lang="en-AU" sz="1400" b="1">
              <a:solidFill>
                <a:srgbClr val="0070C0"/>
              </a:solidFill>
              <a:latin typeface="Century Gothic" panose="020B0502020202020204" pitchFamily="34" charset="0"/>
              <a:ea typeface="Century Gothic"/>
              <a:cs typeface="Century Gothic"/>
              <a:sym typeface="Century Gothic"/>
            </a:endParaRPr>
          </a:p>
          <a:p>
            <a:pPr>
              <a:lnSpc>
                <a:spcPct val="110000"/>
              </a:lnSpc>
              <a:buClrTx/>
            </a:pPr>
            <a:r>
              <a:rPr lang="en-AU" sz="1400" b="1">
                <a:solidFill>
                  <a:srgbClr val="0070C0"/>
                </a:solidFill>
                <a:latin typeface="Century Gothic" panose="020B0502020202020204" pitchFamily="34" charset="0"/>
                <a:ea typeface="Century Gothic"/>
                <a:cs typeface="Century Gothic"/>
                <a:sym typeface="Century Gothic"/>
              </a:rPr>
              <a:t>Singapore Carbon Tax</a:t>
            </a:r>
          </a:p>
          <a:p>
            <a:pPr>
              <a:lnSpc>
                <a:spcPct val="110000"/>
              </a:lnSpc>
              <a:buClrTx/>
            </a:pPr>
            <a:endParaRPr lang="en-AU" sz="1000" b="1">
              <a:solidFill>
                <a:schemeClr val="tx1"/>
              </a:solidFill>
              <a:latin typeface="Century Gothic" panose="020B0502020202020204" pitchFamily="34" charset="0"/>
              <a:ea typeface="Century Gothic"/>
              <a:cs typeface="Century Gothic"/>
              <a:sym typeface="Century Gothic"/>
            </a:endParaRPr>
          </a:p>
          <a:p>
            <a:pPr>
              <a:lnSpc>
                <a:spcPct val="110000"/>
              </a:lnSpc>
              <a:buClrTx/>
            </a:pPr>
            <a:r>
              <a:rPr lang="en-US" sz="1200">
                <a:solidFill>
                  <a:schemeClr val="tx1"/>
                </a:solidFill>
                <a:latin typeface="Century Gothic" panose="020B0502020202020204" pitchFamily="34" charset="0"/>
              </a:rPr>
              <a:t>Singapore recently announced a </a:t>
            </a:r>
            <a:r>
              <a:rPr lang="en-US" sz="1200" b="1">
                <a:solidFill>
                  <a:schemeClr val="tx1"/>
                </a:solidFill>
                <a:latin typeface="Century Gothic" panose="020B0502020202020204" pitchFamily="34" charset="0"/>
              </a:rPr>
              <a:t>5x increase in its carbon tax </a:t>
            </a:r>
            <a:r>
              <a:rPr lang="en-US" sz="1200">
                <a:solidFill>
                  <a:schemeClr val="tx1"/>
                </a:solidFill>
                <a:latin typeface="Century Gothic" panose="020B0502020202020204" pitchFamily="34" charset="0"/>
              </a:rPr>
              <a:t>to</a:t>
            </a:r>
          </a:p>
          <a:p>
            <a:pPr>
              <a:lnSpc>
                <a:spcPct val="110000"/>
              </a:lnSpc>
              <a:buClrTx/>
            </a:pPr>
            <a:endParaRPr lang="en-US" sz="1200">
              <a:latin typeface="Century Gothic" panose="020B0502020202020204" pitchFamily="34" charset="0"/>
            </a:endParaRPr>
          </a:p>
          <a:p>
            <a:pPr marL="285750" indent="-285750">
              <a:lnSpc>
                <a:spcPct val="110000"/>
              </a:lnSpc>
              <a:buClrTx/>
              <a:buFont typeface="Arial" panose="020B0604020202020204" pitchFamily="34" charset="0"/>
              <a:buChar char="•"/>
            </a:pPr>
            <a:r>
              <a:rPr lang="en-US" sz="1200">
                <a:solidFill>
                  <a:schemeClr val="tx1"/>
                </a:solidFill>
                <a:latin typeface="Century Gothic" panose="020B0502020202020204" pitchFamily="34" charset="0"/>
              </a:rPr>
              <a:t>S$25/t in 2024</a:t>
            </a:r>
          </a:p>
          <a:p>
            <a:pPr marL="285750" indent="-285750">
              <a:lnSpc>
                <a:spcPct val="110000"/>
              </a:lnSpc>
              <a:buClrTx/>
              <a:buFont typeface="Arial" panose="020B0604020202020204" pitchFamily="34" charset="0"/>
              <a:buChar char="•"/>
            </a:pPr>
            <a:r>
              <a:rPr lang="en-US" sz="1200">
                <a:latin typeface="Century Gothic" panose="020B0502020202020204" pitchFamily="34" charset="0"/>
              </a:rPr>
              <a:t>S$50 - 80/t by 2030</a:t>
            </a:r>
          </a:p>
          <a:p>
            <a:pPr marL="285750" indent="-285750">
              <a:lnSpc>
                <a:spcPct val="110000"/>
              </a:lnSpc>
              <a:buClrTx/>
              <a:buFont typeface="Arial" panose="020B0604020202020204" pitchFamily="34" charset="0"/>
              <a:buChar char="•"/>
            </a:pPr>
            <a:endParaRPr lang="en-US" sz="1200">
              <a:solidFill>
                <a:schemeClr val="tx1"/>
              </a:solidFill>
              <a:latin typeface="Century Gothic" panose="020B0502020202020204" pitchFamily="34" charset="0"/>
              <a:ea typeface="Century Gothic"/>
              <a:cs typeface="Century Gothic"/>
              <a:sym typeface="Century Gothic"/>
            </a:endParaRPr>
          </a:p>
          <a:p>
            <a:pPr>
              <a:lnSpc>
                <a:spcPct val="110000"/>
              </a:lnSpc>
              <a:buClrTx/>
            </a:pPr>
            <a:r>
              <a:rPr lang="en-US" sz="1200">
                <a:latin typeface="Century Gothic" panose="020B0502020202020204" pitchFamily="34" charset="0"/>
                <a:ea typeface="Century Gothic"/>
                <a:cs typeface="Century Gothic"/>
                <a:sym typeface="Century Gothic"/>
              </a:rPr>
              <a:t>International carbon credits will be able to </a:t>
            </a:r>
            <a:r>
              <a:rPr lang="en-US" sz="1200" b="1">
                <a:latin typeface="Century Gothic" panose="020B0502020202020204" pitchFamily="34" charset="0"/>
                <a:ea typeface="Century Gothic"/>
                <a:cs typeface="Century Gothic"/>
                <a:sym typeface="Century Gothic"/>
              </a:rPr>
              <a:t>offset up to</a:t>
            </a:r>
            <a:r>
              <a:rPr lang="en-US" sz="1200" b="1">
                <a:solidFill>
                  <a:schemeClr val="tx1"/>
                </a:solidFill>
                <a:latin typeface="Century Gothic" panose="020B0502020202020204" pitchFamily="34" charset="0"/>
                <a:ea typeface="Century Gothic"/>
                <a:cs typeface="Century Gothic"/>
                <a:sym typeface="Century Gothic"/>
              </a:rPr>
              <a:t> </a:t>
            </a:r>
            <a:r>
              <a:rPr lang="en-US" sz="1200" b="1">
                <a:latin typeface="Century Gothic" panose="020B0502020202020204" pitchFamily="34" charset="0"/>
                <a:ea typeface="Century Gothic"/>
                <a:cs typeface="Century Gothic"/>
                <a:sym typeface="Century Gothic"/>
              </a:rPr>
              <a:t>5% of the taxable emissions</a:t>
            </a:r>
            <a:r>
              <a:rPr lang="en-US" sz="1200">
                <a:latin typeface="Century Gothic" panose="020B0502020202020204" pitchFamily="34" charset="0"/>
                <a:ea typeface="Century Gothic"/>
                <a:cs typeface="Century Gothic"/>
                <a:sym typeface="Century Gothic"/>
              </a:rPr>
              <a:t>.</a:t>
            </a:r>
            <a:endParaRPr lang="en-AU" sz="1200">
              <a:solidFill>
                <a:schemeClr val="tx1"/>
              </a:solidFill>
              <a:latin typeface="Century Gothic" panose="020B0502020202020204" pitchFamily="34" charset="0"/>
              <a:ea typeface="Century Gothic"/>
              <a:cs typeface="Century Gothic"/>
              <a:sym typeface="Century Gothic"/>
            </a:endParaRPr>
          </a:p>
          <a:p>
            <a:pPr>
              <a:lnSpc>
                <a:spcPct val="110000"/>
              </a:lnSpc>
              <a:buClrTx/>
            </a:pPr>
            <a:endParaRPr lang="en-AU" sz="1000">
              <a:solidFill>
                <a:schemeClr val="tx1"/>
              </a:solidFill>
              <a:latin typeface="Century Gothic" panose="020B0502020202020204" pitchFamily="34" charset="0"/>
              <a:ea typeface="Century Gothic"/>
              <a:cs typeface="Century Gothic"/>
              <a:sym typeface="Century Gothic"/>
            </a:endParaRPr>
          </a:p>
        </p:txBody>
      </p:sp>
      <p:sp>
        <p:nvSpPr>
          <p:cNvPr id="12" name="Rounded Rectangle 11">
            <a:extLst>
              <a:ext uri="{FF2B5EF4-FFF2-40B4-BE49-F238E27FC236}">
                <a16:creationId xmlns:a16="http://schemas.microsoft.com/office/drawing/2014/main" id="{AF09128C-AE8B-4373-ECFF-507FF5073278}"/>
              </a:ext>
            </a:extLst>
          </p:cNvPr>
          <p:cNvSpPr/>
          <p:nvPr/>
        </p:nvSpPr>
        <p:spPr>
          <a:xfrm>
            <a:off x="3273747" y="1817649"/>
            <a:ext cx="3744570" cy="1918237"/>
          </a:xfrm>
          <a:prstGeom prst="roundRect">
            <a:avLst>
              <a:gd name="adj" fmla="val 3058"/>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en-US" sz="1400">
              <a:solidFill>
                <a:schemeClr val="tx1"/>
              </a:solidFill>
            </a:endParaRPr>
          </a:p>
          <a:p>
            <a:pPr algn="ctr"/>
            <a:endParaRPr lang="en-US" sz="1400">
              <a:solidFill>
                <a:schemeClr val="tx1"/>
              </a:solidFill>
            </a:endParaRPr>
          </a:p>
          <a:p>
            <a:pPr algn="ctr"/>
            <a:r>
              <a:rPr lang="en-US" sz="1400">
                <a:solidFill>
                  <a:schemeClr val="tx1"/>
                </a:solidFill>
              </a:rPr>
              <a:t>Price of carbon tax </a:t>
            </a:r>
          </a:p>
          <a:p>
            <a:pPr algn="ctr"/>
            <a:r>
              <a:rPr lang="en-US" sz="1600" b="1">
                <a:solidFill>
                  <a:schemeClr val="tx1"/>
                </a:solidFill>
              </a:rPr>
              <a:t>is lower than</a:t>
            </a:r>
            <a:endParaRPr lang="en-US" sz="1600">
              <a:solidFill>
                <a:schemeClr val="tx1"/>
              </a:solidFill>
            </a:endParaRPr>
          </a:p>
          <a:p>
            <a:pPr algn="ctr"/>
            <a:r>
              <a:rPr lang="en-US" sz="1400">
                <a:solidFill>
                  <a:schemeClr val="tx1"/>
                </a:solidFill>
              </a:rPr>
              <a:t>Price of high-quality carbon credits</a:t>
            </a:r>
          </a:p>
          <a:p>
            <a:pPr algn="ctr"/>
            <a:endParaRPr lang="en-GB" sz="1600">
              <a:solidFill>
                <a:schemeClr val="tx1"/>
              </a:solidFill>
            </a:endParaRPr>
          </a:p>
        </p:txBody>
      </p:sp>
      <p:sp>
        <p:nvSpPr>
          <p:cNvPr id="14" name="Rectangle 13">
            <a:extLst>
              <a:ext uri="{FF2B5EF4-FFF2-40B4-BE49-F238E27FC236}">
                <a16:creationId xmlns:a16="http://schemas.microsoft.com/office/drawing/2014/main" id="{4F599A0B-139A-88E1-B3EC-08B4183F5DEE}"/>
              </a:ext>
            </a:extLst>
          </p:cNvPr>
          <p:cNvSpPr/>
          <p:nvPr/>
        </p:nvSpPr>
        <p:spPr>
          <a:xfrm>
            <a:off x="3593655" y="4519351"/>
            <a:ext cx="3104751" cy="1169551"/>
          </a:xfrm>
          <a:prstGeom prst="rect">
            <a:avLst/>
          </a:prstGeom>
        </p:spPr>
        <p:txBody>
          <a:bodyPr wrap="square">
            <a:spAutoFit/>
          </a:bodyPr>
          <a:lstStyle/>
          <a:p>
            <a:pPr algn="ctr"/>
            <a:r>
              <a:rPr lang="en-US" sz="1400"/>
              <a:t>After cutting GHG emissions, corporates choose to pay carbon taxes for unabated emissions. Any offsets procured are through the </a:t>
            </a:r>
            <a:r>
              <a:rPr lang="en-US" sz="1400" b="1" i="1">
                <a:solidFill>
                  <a:srgbClr val="FF0000"/>
                </a:solidFill>
              </a:rPr>
              <a:t>voluntary</a:t>
            </a:r>
            <a:r>
              <a:rPr lang="en-US" sz="1400"/>
              <a:t> market.</a:t>
            </a:r>
          </a:p>
        </p:txBody>
      </p:sp>
      <p:sp>
        <p:nvSpPr>
          <p:cNvPr id="15" name="Rounded Rectangle 14">
            <a:extLst>
              <a:ext uri="{FF2B5EF4-FFF2-40B4-BE49-F238E27FC236}">
                <a16:creationId xmlns:a16="http://schemas.microsoft.com/office/drawing/2014/main" id="{B3E56EAC-1D45-A4DE-B457-AFC83061D908}"/>
              </a:ext>
            </a:extLst>
          </p:cNvPr>
          <p:cNvSpPr/>
          <p:nvPr/>
        </p:nvSpPr>
        <p:spPr>
          <a:xfrm>
            <a:off x="3911555" y="1530206"/>
            <a:ext cx="2468953" cy="628544"/>
          </a:xfrm>
          <a:prstGeom prst="roundRect">
            <a:avLst>
              <a:gd name="adj" fmla="val 7185"/>
            </a:avLst>
          </a:prstGeom>
          <a:solidFill>
            <a:schemeClr val="bg1"/>
          </a:solidFill>
          <a:ln w="254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1100" b="1">
                <a:solidFill>
                  <a:schemeClr val="accent1">
                    <a:lumMod val="75000"/>
                  </a:schemeClr>
                </a:solidFill>
              </a:rPr>
              <a:t>TODAY</a:t>
            </a:r>
            <a:endParaRPr lang="en-US" sz="1400" b="1">
              <a:solidFill>
                <a:schemeClr val="accent1">
                  <a:lumMod val="75000"/>
                </a:schemeClr>
              </a:solidFill>
            </a:endParaRPr>
          </a:p>
          <a:p>
            <a:pPr algn="ctr"/>
            <a:r>
              <a:rPr lang="en-US" sz="1600">
                <a:solidFill>
                  <a:schemeClr val="accent1">
                    <a:lumMod val="75000"/>
                  </a:schemeClr>
                </a:solidFill>
              </a:rPr>
              <a:t>Voluntary Market</a:t>
            </a:r>
            <a:endParaRPr lang="en-GB">
              <a:solidFill>
                <a:schemeClr val="accent1">
                  <a:lumMod val="75000"/>
                </a:schemeClr>
              </a:solidFill>
            </a:endParaRPr>
          </a:p>
        </p:txBody>
      </p:sp>
      <p:sp>
        <p:nvSpPr>
          <p:cNvPr id="16" name="Rounded Rectangle 15">
            <a:extLst>
              <a:ext uri="{FF2B5EF4-FFF2-40B4-BE49-F238E27FC236}">
                <a16:creationId xmlns:a16="http://schemas.microsoft.com/office/drawing/2014/main" id="{9E81858A-CD3E-D5F7-ED3B-69B861D25217}"/>
              </a:ext>
            </a:extLst>
          </p:cNvPr>
          <p:cNvSpPr/>
          <p:nvPr/>
        </p:nvSpPr>
        <p:spPr>
          <a:xfrm>
            <a:off x="7700781" y="1817649"/>
            <a:ext cx="3744570" cy="1918237"/>
          </a:xfrm>
          <a:prstGeom prst="roundRect">
            <a:avLst>
              <a:gd name="adj" fmla="val 3058"/>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en-US" sz="1400">
              <a:solidFill>
                <a:schemeClr val="tx1"/>
              </a:solidFill>
            </a:endParaRPr>
          </a:p>
          <a:p>
            <a:pPr algn="ctr"/>
            <a:endParaRPr lang="en-US" sz="1400">
              <a:solidFill>
                <a:schemeClr val="tx1"/>
              </a:solidFill>
            </a:endParaRPr>
          </a:p>
          <a:p>
            <a:pPr algn="ctr"/>
            <a:r>
              <a:rPr lang="en-US" sz="1400">
                <a:solidFill>
                  <a:schemeClr val="tx1"/>
                </a:solidFill>
              </a:rPr>
              <a:t>Price of carbon tax </a:t>
            </a:r>
          </a:p>
          <a:p>
            <a:pPr algn="ctr"/>
            <a:r>
              <a:rPr lang="en-US" sz="1600" b="1">
                <a:solidFill>
                  <a:schemeClr val="tx1"/>
                </a:solidFill>
              </a:rPr>
              <a:t>is higher than</a:t>
            </a:r>
            <a:endParaRPr lang="en-US" sz="1600">
              <a:solidFill>
                <a:schemeClr val="tx1"/>
              </a:solidFill>
            </a:endParaRPr>
          </a:p>
          <a:p>
            <a:pPr algn="ctr"/>
            <a:r>
              <a:rPr lang="en-US" sz="1400">
                <a:solidFill>
                  <a:schemeClr val="tx1"/>
                </a:solidFill>
              </a:rPr>
              <a:t>Price of high-quality carbon credits</a:t>
            </a:r>
          </a:p>
          <a:p>
            <a:pPr algn="ctr"/>
            <a:endParaRPr lang="en-GB" sz="1600">
              <a:solidFill>
                <a:schemeClr val="tx1"/>
              </a:solidFill>
            </a:endParaRPr>
          </a:p>
        </p:txBody>
      </p:sp>
      <p:sp>
        <p:nvSpPr>
          <p:cNvPr id="17" name="Rounded Rectangle 16">
            <a:extLst>
              <a:ext uri="{FF2B5EF4-FFF2-40B4-BE49-F238E27FC236}">
                <a16:creationId xmlns:a16="http://schemas.microsoft.com/office/drawing/2014/main" id="{D0ADD037-3CDC-B5CF-8FCC-DCF179793661}"/>
              </a:ext>
            </a:extLst>
          </p:cNvPr>
          <p:cNvSpPr/>
          <p:nvPr/>
        </p:nvSpPr>
        <p:spPr>
          <a:xfrm>
            <a:off x="8338589" y="1530206"/>
            <a:ext cx="2468953" cy="628544"/>
          </a:xfrm>
          <a:prstGeom prst="roundRect">
            <a:avLst>
              <a:gd name="adj" fmla="val 7185"/>
            </a:avLst>
          </a:prstGeom>
          <a:solidFill>
            <a:schemeClr val="bg1"/>
          </a:solidFill>
          <a:ln w="254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1100" b="1">
                <a:solidFill>
                  <a:schemeClr val="accent1">
                    <a:lumMod val="75000"/>
                  </a:schemeClr>
                </a:solidFill>
              </a:rPr>
              <a:t>2024 ONWARDS</a:t>
            </a:r>
            <a:endParaRPr lang="en-US" sz="1400" b="1">
              <a:solidFill>
                <a:schemeClr val="accent1">
                  <a:lumMod val="75000"/>
                </a:schemeClr>
              </a:solidFill>
            </a:endParaRPr>
          </a:p>
          <a:p>
            <a:pPr algn="ctr"/>
            <a:r>
              <a:rPr lang="en-US" sz="1600">
                <a:solidFill>
                  <a:schemeClr val="accent1">
                    <a:lumMod val="75000"/>
                  </a:schemeClr>
                </a:solidFill>
              </a:rPr>
              <a:t>Compliance Market</a:t>
            </a:r>
            <a:endParaRPr lang="en-GB">
              <a:solidFill>
                <a:schemeClr val="accent1">
                  <a:lumMod val="75000"/>
                </a:schemeClr>
              </a:solidFill>
            </a:endParaRPr>
          </a:p>
        </p:txBody>
      </p:sp>
      <p:sp>
        <p:nvSpPr>
          <p:cNvPr id="18" name="Rectangle 17">
            <a:extLst>
              <a:ext uri="{FF2B5EF4-FFF2-40B4-BE49-F238E27FC236}">
                <a16:creationId xmlns:a16="http://schemas.microsoft.com/office/drawing/2014/main" id="{05CCEBF7-F432-6BC9-5A81-9E68631ABA62}"/>
              </a:ext>
            </a:extLst>
          </p:cNvPr>
          <p:cNvSpPr/>
          <p:nvPr/>
        </p:nvSpPr>
        <p:spPr>
          <a:xfrm>
            <a:off x="8020691" y="4519351"/>
            <a:ext cx="3104751" cy="954107"/>
          </a:xfrm>
          <a:prstGeom prst="rect">
            <a:avLst/>
          </a:prstGeom>
        </p:spPr>
        <p:txBody>
          <a:bodyPr wrap="square">
            <a:spAutoFit/>
          </a:bodyPr>
          <a:lstStyle/>
          <a:p>
            <a:pPr algn="ctr"/>
            <a:r>
              <a:rPr lang="en-US" sz="1400"/>
              <a:t>After cutting GHG emissions, corporates offset up to X% of the unabated and taxable emissions via the </a:t>
            </a:r>
            <a:r>
              <a:rPr lang="en-US" sz="1400" b="1" i="1">
                <a:solidFill>
                  <a:srgbClr val="FF0000"/>
                </a:solidFill>
              </a:rPr>
              <a:t>compliance</a:t>
            </a:r>
            <a:r>
              <a:rPr lang="en-US" sz="1400" i="1"/>
              <a:t> </a:t>
            </a:r>
            <a:r>
              <a:rPr lang="en-US" sz="1400"/>
              <a:t>market.</a:t>
            </a:r>
          </a:p>
        </p:txBody>
      </p:sp>
      <p:cxnSp>
        <p:nvCxnSpPr>
          <p:cNvPr id="20" name="Straight Connector 19">
            <a:extLst>
              <a:ext uri="{FF2B5EF4-FFF2-40B4-BE49-F238E27FC236}">
                <a16:creationId xmlns:a16="http://schemas.microsoft.com/office/drawing/2014/main" id="{60A5CD53-E5F9-080E-5571-C2410F71CF5E}"/>
              </a:ext>
            </a:extLst>
          </p:cNvPr>
          <p:cNvCxnSpPr/>
          <p:nvPr/>
        </p:nvCxnSpPr>
        <p:spPr>
          <a:xfrm>
            <a:off x="5140712" y="3958683"/>
            <a:ext cx="0" cy="390293"/>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D3A9B59-2ECD-885F-82D8-5C525320EC8B}"/>
              </a:ext>
            </a:extLst>
          </p:cNvPr>
          <p:cNvCxnSpPr>
            <a:cxnSpLocks/>
          </p:cNvCxnSpPr>
          <p:nvPr/>
        </p:nvCxnSpPr>
        <p:spPr>
          <a:xfrm>
            <a:off x="9573066" y="3958683"/>
            <a:ext cx="0" cy="390293"/>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2" name="Right Arrow 21">
            <a:extLst>
              <a:ext uri="{FF2B5EF4-FFF2-40B4-BE49-F238E27FC236}">
                <a16:creationId xmlns:a16="http://schemas.microsoft.com/office/drawing/2014/main" id="{A9CDBC23-2907-5C12-3A41-8B56D599D5B8}"/>
              </a:ext>
            </a:extLst>
          </p:cNvPr>
          <p:cNvSpPr/>
          <p:nvPr/>
        </p:nvSpPr>
        <p:spPr>
          <a:xfrm>
            <a:off x="7208613" y="2720492"/>
            <a:ext cx="307587" cy="198884"/>
          </a:xfrm>
          <a:prstGeom prst="rightArrow">
            <a:avLst>
              <a:gd name="adj1" fmla="val 50000"/>
              <a:gd name="adj2" fmla="val 6410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7890" name="Picture 2" descr="Flag of Singapore - Wikipedia">
            <a:extLst>
              <a:ext uri="{FF2B5EF4-FFF2-40B4-BE49-F238E27FC236}">
                <a16:creationId xmlns:a16="http://schemas.microsoft.com/office/drawing/2014/main" id="{4D5B1441-115E-11F6-98B0-068586F34F2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9282" y="2158750"/>
            <a:ext cx="556761" cy="3711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75370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CustomIcon"/>
</p:tagLst>
</file>

<file path=ppt/theme/theme1.xml><?xml version="1.0" encoding="utf-8"?>
<a:theme xmlns:a="http://schemas.openxmlformats.org/drawingml/2006/main" name="CIX theme">
  <a:themeElements>
    <a:clrScheme name="Custom 14">
      <a:dk1>
        <a:srgbClr val="000000"/>
      </a:dk1>
      <a:lt1>
        <a:srgbClr val="FFFFFF"/>
      </a:lt1>
      <a:dk2>
        <a:srgbClr val="DDE5E5"/>
      </a:dk2>
      <a:lt2>
        <a:srgbClr val="49DB61"/>
      </a:lt2>
      <a:accent1>
        <a:srgbClr val="329A45"/>
      </a:accent1>
      <a:accent2>
        <a:srgbClr val="1B5B2E"/>
      </a:accent2>
      <a:accent3>
        <a:srgbClr val="244990"/>
      </a:accent3>
      <a:accent4>
        <a:srgbClr val="0070C0"/>
      </a:accent4>
      <a:accent5>
        <a:srgbClr val="DE8E27"/>
      </a:accent5>
      <a:accent6>
        <a:srgbClr val="931000"/>
      </a:accent6>
      <a:hlink>
        <a:srgbClr val="6C9090"/>
      </a:hlink>
      <a:folHlink>
        <a:srgbClr val="6C9090"/>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lumMod val="20000"/>
            <a:lumOff val="80000"/>
          </a:schemeClr>
        </a:solidFill>
        <a:ln>
          <a:noFill/>
        </a:ln>
      </a:spPr>
      <a:bodyPr rtlCol="0" anchor="ctr"/>
      <a:lstStyle>
        <a:defPPr algn="ctr">
          <a:defRPr dirty="0" err="1">
            <a:solidFill>
              <a:schemeClr val="tx1">
                <a:lumMod val="75000"/>
                <a:lumOff val="25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solidFill>
              <a:schemeClr val="tx1">
                <a:lumMod val="75000"/>
                <a:lumOff val="25000"/>
              </a:schemeClr>
            </a:solidFill>
          </a:defRPr>
        </a:defPPr>
      </a:lstStyle>
    </a:txDef>
  </a:objectDefaults>
  <a:extraClrSchemeLst/>
  <a:extLst>
    <a:ext uri="{05A4C25C-085E-4340-85A3-A5531E510DB2}">
      <thm15:themeFamily xmlns:thm15="http://schemas.microsoft.com/office/thememl/2012/main" name="CIX theme" id="{1F1B5E0D-F3D6-4D7F-9233-BD5E8D04AF23}" vid="{C6CEDA51-99E0-46C2-99A4-17EB4C85A1F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E97D26D2F1CB042B4F9D7D756FC25C3" ma:contentTypeVersion="16" ma:contentTypeDescription="Create a new document." ma:contentTypeScope="" ma:versionID="6097d78696bc0911e9a727c418b70682">
  <xsd:schema xmlns:xsd="http://www.w3.org/2001/XMLSchema" xmlns:xs="http://www.w3.org/2001/XMLSchema" xmlns:p="http://schemas.microsoft.com/office/2006/metadata/properties" xmlns:ns2="bdf3749c-a83e-487e-bc07-a4647dcaf050" xmlns:ns3="63ad55b3-79de-4d0c-94df-4269949c9a8c" targetNamespace="http://schemas.microsoft.com/office/2006/metadata/properties" ma:root="true" ma:fieldsID="e88cf8df60800070984fdf19ce3d925c" ns2:_="" ns3:_="">
    <xsd:import namespace="bdf3749c-a83e-487e-bc07-a4647dcaf050"/>
    <xsd:import namespace="63ad55b3-79de-4d0c-94df-4269949c9a8c"/>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DateTaken" minOccurs="0"/>
                <xsd:element ref="ns3:MediaServiceAutoTags" minOccurs="0"/>
                <xsd:element ref="ns3:MediaServiceGenerationTime" minOccurs="0"/>
                <xsd:element ref="ns3:MediaServiceEventHashCode" minOccurs="0"/>
                <xsd:element ref="ns3:MediaServiceOCR" minOccurs="0"/>
                <xsd:element ref="ns3:MediaLengthInSeconds" minOccurs="0"/>
                <xsd:element ref="ns3:MediaServiceLocation" minOccurs="0"/>
                <xsd:element ref="ns3:lcf76f155ced4ddcb4097134ff3c332f" minOccurs="0"/>
                <xsd:element ref="ns2: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df3749c-a83e-487e-bc07-a4647dcaf050"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0db23df3-f1ea-4c3a-9927-2bb197b00fd9}" ma:internalName="TaxCatchAll" ma:showField="CatchAllData" ma:web="bdf3749c-a83e-487e-bc07-a4647dcaf050">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3ad55b3-79de-4d0c-94df-4269949c9a8c"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a45399bd-7519-4976-9663-18a4f2b32c3b" ma:termSetId="09814cd3-568e-fe90-9814-8d621ff8fb84" ma:anchorId="fba54fb3-c3e1-fe81-a776-ca4b69148c4d" ma:open="tru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bdf3749c-a83e-487e-bc07-a4647dcaf050" xsi:nil="true"/>
    <lcf76f155ced4ddcb4097134ff3c332f xmlns="63ad55b3-79de-4d0c-94df-4269949c9a8c">
      <Terms xmlns="http://schemas.microsoft.com/office/infopath/2007/PartnerControls"/>
    </lcf76f155ced4ddcb4097134ff3c332f>
    <SharedWithUsers xmlns="bdf3749c-a83e-487e-bc07-a4647dcaf050">
      <UserInfo>
        <DisplayName>Myx Espiritu</DisplayName>
        <AccountId>612</AccountId>
        <AccountType/>
      </UserInfo>
    </SharedWithUsers>
  </documentManagement>
</p:properties>
</file>

<file path=customXml/itemProps1.xml><?xml version="1.0" encoding="utf-8"?>
<ds:datastoreItem xmlns:ds="http://schemas.openxmlformats.org/officeDocument/2006/customXml" ds:itemID="{0A4F7621-A460-4641-AA74-72474AAFADC9}">
  <ds:schemaRefs>
    <ds:schemaRef ds:uri="63ad55b3-79de-4d0c-94df-4269949c9a8c"/>
    <ds:schemaRef ds:uri="bdf3749c-a83e-487e-bc07-a4647dcaf05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20CBC467-42A0-4B6E-AC1A-47DC95584308}">
  <ds:schemaRefs>
    <ds:schemaRef ds:uri="http://schemas.microsoft.com/sharepoint/v3/contenttype/forms"/>
  </ds:schemaRefs>
</ds:datastoreItem>
</file>

<file path=customXml/itemProps3.xml><?xml version="1.0" encoding="utf-8"?>
<ds:datastoreItem xmlns:ds="http://schemas.openxmlformats.org/officeDocument/2006/customXml" ds:itemID="{D1F7210F-921B-4534-A061-48C250AE6373}">
  <ds:schemaRefs>
    <ds:schemaRef ds:uri="63ad55b3-79de-4d0c-94df-4269949c9a8c"/>
    <ds:schemaRef ds:uri="bdf3749c-a83e-487e-bc07-a4647dcaf05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a0bf889c-dc5e-4fdd-b5cb-3ddaf2df74e3}" enabled="0" method="" siteId="{a0bf889c-dc5e-4fdd-b5cb-3ddaf2df74e3}" removed="1"/>
</clbl:labelList>
</file>

<file path=docProps/app.xml><?xml version="1.0" encoding="utf-8"?>
<Properties xmlns="http://schemas.openxmlformats.org/officeDocument/2006/extended-properties" xmlns:vt="http://schemas.openxmlformats.org/officeDocument/2006/docPropsVTypes">
  <Template>CIX theme</Template>
  <TotalTime>4974</TotalTime>
  <Words>1913</Words>
  <Application>Microsoft Office PowerPoint</Application>
  <PresentationFormat>Widescreen</PresentationFormat>
  <Paragraphs>235</Paragraphs>
  <Slides>15</Slides>
  <Notes>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4" baseType="lpstr">
      <vt:lpstr>Arial</vt:lpstr>
      <vt:lpstr>Calibri</vt:lpstr>
      <vt:lpstr>Century Gothic</vt:lpstr>
      <vt:lpstr>Graphik Semibold</vt:lpstr>
      <vt:lpstr>Inter</vt:lpstr>
      <vt:lpstr>Segoe UI</vt:lpstr>
      <vt:lpstr>Wingdings</vt:lpstr>
      <vt:lpstr>CIX theme</vt:lpstr>
      <vt:lpstr>think-cell Slide</vt:lpstr>
      <vt:lpstr>PowerPoint Presentation</vt:lpstr>
      <vt:lpstr>CLIMATE IMPACT X </vt:lpstr>
      <vt:lpstr>What is a carbon credit?</vt:lpstr>
      <vt:lpstr>The lifecycle of a carbon credit</vt:lpstr>
      <vt:lpstr>Types of carbon credits </vt:lpstr>
      <vt:lpstr>Voluntary carbon markets are growing</vt:lpstr>
      <vt:lpstr>But the worldwide market is still tight for high-quality credits </vt:lpstr>
      <vt:lpstr>Convergence of the compliance and voluntary carbon markets </vt:lpstr>
      <vt:lpstr>Voluntary carbon credits and the Singapore carbon tax</vt:lpstr>
      <vt:lpstr>How corporates should use voluntary carbon credits</vt:lpstr>
      <vt:lpstr>CIX is bringing several platforms to meet different buyer and supplier needs </vt:lpstr>
      <vt:lpstr>CIX Commitments to Trust</vt:lpstr>
      <vt:lpstr>Be part of our CIX Community</vt:lpstr>
      <vt:lpstr>Thank you</vt:lpstr>
      <vt:lpstr>Disclaim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thew</dc:creator>
  <cp:lastModifiedBy>Daphne Chuah</cp:lastModifiedBy>
  <cp:revision>10</cp:revision>
  <dcterms:created xsi:type="dcterms:W3CDTF">2022-03-21T06:11:15Z</dcterms:created>
  <dcterms:modified xsi:type="dcterms:W3CDTF">2022-07-25T09:07: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E97D26D2F1CB042B4F9D7D756FC25C3</vt:lpwstr>
  </property>
  <property fmtid="{D5CDD505-2E9C-101B-9397-08002B2CF9AE}" pid="3" name="MediaServiceImageTags">
    <vt:lpwstr/>
  </property>
</Properties>
</file>